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8"/>
  </p:notesMasterIdLst>
  <p:sldIdLst>
    <p:sldId id="260" r:id="rId2"/>
    <p:sldId id="302" r:id="rId3"/>
    <p:sldId id="303" r:id="rId4"/>
    <p:sldId id="295" r:id="rId5"/>
    <p:sldId id="640" r:id="rId6"/>
    <p:sldId id="297" r:id="rId7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3922" autoAdjust="0"/>
  </p:normalViewPr>
  <p:slideViewPr>
    <p:cSldViewPr snapToGrid="0" snapToObjects="1">
      <p:cViewPr>
        <p:scale>
          <a:sx n="66" d="100"/>
          <a:sy n="66" d="100"/>
        </p:scale>
        <p:origin x="1422" y="3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195467-70B2-449B-87F4-F80B1EFB4297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ADFF7C-67A0-4C25-85AA-018A06F0D9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709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accent5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924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entury Gothic" panose="020B05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/>
          <a:lstStyle/>
          <a:p>
            <a:fld id="{F80947A9-521A-4AFE-8C3B-59BE50CEA4DD}" type="slidenum">
              <a:rPr lang="en-US" smtClean="0">
                <a:solidFill>
                  <a:srgbClr val="292934">
                    <a:lumMod val="75000"/>
                    <a:lumOff val="25000"/>
                  </a:srgbClr>
                </a:solidFill>
              </a:rPr>
              <a:pPr/>
              <a:t>‹#›</a:t>
            </a:fld>
            <a:endParaRPr lang="en-US">
              <a:solidFill>
                <a:srgbClr val="292934">
                  <a:lumMod val="75000"/>
                  <a:lumOff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6781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>
            <a:lvl1pPr>
              <a:defRPr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50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88" t="21455" r="8519" b="27218"/>
          <a:stretch/>
        </p:blipFill>
        <p:spPr>
          <a:xfrm>
            <a:off x="6860627" y="36786"/>
            <a:ext cx="2207173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58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accent5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6.PNG"/><Relationship Id="rId5" Type="http://schemas.openxmlformats.org/officeDocument/2006/relationships/tags" Target="../tags/tag5.xml"/><Relationship Id="rId10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ekkographics.com/how-do-teenagers-spend-their-time/" TargetMode="External"/><Relationship Id="rId3" Type="http://schemas.openxmlformats.org/officeDocument/2006/relationships/tags" Target="../tags/tag9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image" Target="../media/image9.emf"/><Relationship Id="rId5" Type="http://schemas.openxmlformats.org/officeDocument/2006/relationships/tags" Target="../tags/tag11.xml"/><Relationship Id="rId10" Type="http://schemas.openxmlformats.org/officeDocument/2006/relationships/image" Target="../media/image8.emf"/><Relationship Id="rId4" Type="http://schemas.openxmlformats.org/officeDocument/2006/relationships/tags" Target="../tags/tag10.xml"/><Relationship Id="rId9" Type="http://schemas.openxmlformats.org/officeDocument/2006/relationships/hyperlink" Target="http://www.pewresearch.org/fact-tank/2019/02/20/the-way-u-s-teens-spend-their-time-is-changing-but-differences-between-boys-and-girls-persist/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sj.com/articles/yogurt-sales-sour-as-options-proliferate-11554811200" TargetMode="External"/><Relationship Id="rId3" Type="http://schemas.openxmlformats.org/officeDocument/2006/relationships/tags" Target="../tags/tag15.xml"/><Relationship Id="rId7" Type="http://schemas.openxmlformats.org/officeDocument/2006/relationships/hyperlink" Target="https://www.mekkographics.com/us-yogurt-market-growth/" TargetMode="Externa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10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0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hyperlink" Target="https://www.mekkographics.com/wine-customer-segmentation/" TargetMode="External"/><Relationship Id="rId5" Type="http://schemas.openxmlformats.org/officeDocument/2006/relationships/tags" Target="../tags/tag22.xml"/><Relationship Id="rId10" Type="http://schemas.openxmlformats.org/officeDocument/2006/relationships/hyperlink" Target="https://www.wineintelligence.com/downloads/us-portraits-2018/" TargetMode="External"/><Relationship Id="rId4" Type="http://schemas.openxmlformats.org/officeDocument/2006/relationships/tags" Target="../tags/tag21.xml"/><Relationship Id="rId9" Type="http://schemas.openxmlformats.org/officeDocument/2006/relationships/image" Target="../media/image12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ourworldindata.org/meat-and-seafood-production-consumption" TargetMode="External"/><Relationship Id="rId3" Type="http://schemas.openxmlformats.org/officeDocument/2006/relationships/tags" Target="../tags/tag26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image" Target="../media/image14.emf"/><Relationship Id="rId5" Type="http://schemas.openxmlformats.org/officeDocument/2006/relationships/tags" Target="../tags/tag28.xml"/><Relationship Id="rId10" Type="http://schemas.openxmlformats.org/officeDocument/2006/relationships/image" Target="../media/image13.emf"/><Relationship Id="rId4" Type="http://schemas.openxmlformats.org/officeDocument/2006/relationships/tags" Target="../tags/tag27.xml"/><Relationship Id="rId9" Type="http://schemas.openxmlformats.org/officeDocument/2006/relationships/hyperlink" Target="https://www.mekkographics.com/meat-consumption&#8230;country-and-type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mekkographics.com/who-uses-uber-and-lyft/" TargetMode="External"/><Relationship Id="rId3" Type="http://schemas.openxmlformats.org/officeDocument/2006/relationships/tags" Target="../tags/tag32.xml"/><Relationship Id="rId7" Type="http://schemas.openxmlformats.org/officeDocument/2006/relationships/image" Target="../media/image15.emf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34.xml"/><Relationship Id="rId4" Type="http://schemas.openxmlformats.org/officeDocument/2006/relationships/tags" Target="../tags/tag33.xml"/><Relationship Id="rId9" Type="http://schemas.openxmlformats.org/officeDocument/2006/relationships/hyperlink" Target="https://www.cbinsights.com/research/unicorn-startup-market-map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0928" y="409136"/>
            <a:ext cx="8229600" cy="990600"/>
          </a:xfrm>
        </p:spPr>
        <p:txBody>
          <a:bodyPr/>
          <a:lstStyle/>
          <a:p>
            <a:r>
              <a:rPr lang="en-US" dirty="0"/>
              <a:t>Top 5 Charts of the Week 2019</a:t>
            </a:r>
          </a:p>
        </p:txBody>
      </p:sp>
      <p:pic>
        <p:nvPicPr>
          <p:cNvPr id="4" name="Picture 3" descr="Description automatically generated">
            <a:extLst>
              <a:ext uri="{FF2B5EF4-FFF2-40B4-BE49-F238E27FC236}">
                <a16:creationId xmlns:a16="http://schemas.microsoft.com/office/drawing/2014/main" id="{A91A0A52-95CA-4237-A6A8-0BF5F5C272DF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33564" y="1626079"/>
            <a:ext cx="3056356" cy="2292267"/>
          </a:xfrm>
          <a:prstGeom prst="rect">
            <a:avLst/>
          </a:prstGeom>
        </p:spPr>
      </p:pic>
      <p:pic>
        <p:nvPicPr>
          <p:cNvPr id="6" name="Picture 5" descr="&#10;Description automatically generated">
            <a:extLst>
              <a:ext uri="{FF2B5EF4-FFF2-40B4-BE49-F238E27FC236}">
                <a16:creationId xmlns:a16="http://schemas.microsoft.com/office/drawing/2014/main" id="{0A6EA53E-EDBB-4DD4-9E96-D1C9CD5B42A5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2961750" y="1626079"/>
            <a:ext cx="3056356" cy="2292267"/>
          </a:xfrm>
          <a:prstGeom prst="rect">
            <a:avLst/>
          </a:prstGeom>
        </p:spPr>
      </p:pic>
      <p:pic>
        <p:nvPicPr>
          <p:cNvPr id="10" name="Picture 9" descr="A screenshot of a cell phone&#10;&#10;Description automatically generated">
            <a:extLst>
              <a:ext uri="{FF2B5EF4-FFF2-40B4-BE49-F238E27FC236}">
                <a16:creationId xmlns:a16="http://schemas.microsoft.com/office/drawing/2014/main" id="{FA640070-5B0F-402D-A3D3-DCFBFCABAE4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/>
          <a:stretch>
            <a:fillRect/>
          </a:stretch>
        </p:blipFill>
        <p:spPr>
          <a:xfrm>
            <a:off x="1459371" y="4220952"/>
            <a:ext cx="3056357" cy="2292268"/>
          </a:xfrm>
          <a:prstGeom prst="rect">
            <a:avLst/>
          </a:prstGeom>
        </p:spPr>
      </p:pic>
      <p:pic>
        <p:nvPicPr>
          <p:cNvPr id="12" name="Picture 11" descr="A screenshot of a cell phone&#10;&#10;Description automatically generated">
            <a:extLst>
              <a:ext uri="{FF2B5EF4-FFF2-40B4-BE49-F238E27FC236}">
                <a16:creationId xmlns:a16="http://schemas.microsoft.com/office/drawing/2014/main" id="{4CE39321-4FAA-4343-9BFC-1D417DB8D11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4930066" y="4220952"/>
            <a:ext cx="3056357" cy="2292268"/>
          </a:xfrm>
          <a:prstGeom prst="rect">
            <a:avLst/>
          </a:prstGeom>
        </p:spPr>
      </p:pic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8AA58998-B28F-4EDE-9B4A-0DE8DAF7598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5875420" y="1607011"/>
            <a:ext cx="3056358" cy="2292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673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8738" y="305307"/>
            <a:ext cx="8229600" cy="990600"/>
          </a:xfrm>
        </p:spPr>
        <p:txBody>
          <a:bodyPr>
            <a:noAutofit/>
          </a:bodyPr>
          <a:lstStyle/>
          <a:p>
            <a:r>
              <a:rPr lang="en-US" sz="3200" dirty="0"/>
              <a:t>How Do Teenagers Spend Their Time?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104D8-6F34-4790-801B-CAF44F89683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769768" y="6489709"/>
            <a:ext cx="20292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hlinkClick r:id="rId8"/>
              </a:rPr>
              <a:t>Learn how to make this chart</a:t>
            </a:r>
            <a:endParaRPr lang="en-US" sz="1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2EDD9-E367-4784-B3E8-3C5DF2E0AE6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8738" y="6489709"/>
            <a:ext cx="66645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>
                <a:hlinkClick r:id="rId9"/>
              </a:rPr>
              <a:t>Pew Research</a:t>
            </a: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08738" y="1104519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Boys spend more time than girls on screens and in class, while girls spend more time than boys on homework and grooming. </a:t>
            </a:r>
          </a:p>
        </p:txBody>
      </p:sp>
      <p:sp>
        <p:nvSpPr>
          <p:cNvPr id="13" name="Rectangle 1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tgGuRH9ya7jtvyZJwCj87P3R1uMJqmihs5duLMoo+f1GLbpOpQz1ZxZ3uignoO4A38+UzgwLdpKtffiDLda5o7ibTCnkp8js5h7V6MvQm1AHKoaPLzGFqJ8OFw5dcvTiUmrEDmGR8eE3/l/h6K/Tuu9n0hQu/OdXAfq7OuFJYIBYO775JpSHi7pGXv2g7Yzpccw73bm4fIslIoR5GzPuOck0SroHnhFWob8YZnlIYBr37PnosmubW3AojrcdfiF3HZCHmVnKsXs9QKAqaBdCS3FCGr0y2ouT6z/Bq1jBQ1mWWvq6oLgr5FrZQNqJzUH4lSyhCKfBM8nRMTzrpafHrg1NH2oS2NKZGc4nhDDDabvVPjfuJWG+3gIDiUx9xguNfV4QAKBpOmEzabXRDWQqeMtcKmxyJUnPY5r+hklEGtrRY5aZSc7wRoeWgmuORe1x3XlOzxN6A6d5z9//TVy0gZDv5G/SyxZrmHCMnWoRsaEtohzgBUCEm2JYeTuuU2OFMpfyUPA9uhr5fSqRjZaQRAZBQCxiW2EQ864zSZtNfxqQ1f6vBLITYcZO6V9Zh3WYBZrVa53WK8jAXDIaASiV3KFw92FQMSSh7JFjGRLQidRjjF00kOOa8EHu77XlZ6+lGgJEUNdLj//T7bi+bavRwaZsP9PKgbzUd3qNzTc9J7kqiJwXmekeDk84dHdnN7yp3tQkE1EW7uvO73JE7iSo6EnfGNIN2IRBI5Y2CUcLQqAQsturochScnNo4UeQVxa1yjJPtzdJu2S1nzgWX1soxh3YQ6rQq4L1UrT/a6Ljp8fV3Hdz5ukoRpxnlmX5nGXOkwWlVzdY6PI3OVaNzMsdqte9IgflRY+QrQctV04t+OIg8x6EDgyrMv6BPR38KYyfa7OG0keRF+ivaU+vxSkWjpjwLOMP4dHLlUIvVPsFonDUSJGDvmMDD5j+LtV/SReqpZy9piPZvTMo9fhOtpTx8aNBag/sFS2Vvbds4c1HwNj5/5tmgwsfmvVtws57wBZ5s/Mlp2iGoHFrRA8ZylqCKMc2LLQkiOitQYsoGtxHLxb0/3Wm9vIPIYz65v1NKBcBZNjNydMB8oEQNf+M/EjhWS+DENxqyKC4GBXZEVh5D1o6KbHrLzDOvdt5VZQ81G/VKDBpaWy8a/01n90iZEwgZoKJ6sF/cv933tVOeFU45k6EIES7DnTRjtlbJ+Gb2GQmVj1HDzBnk2I1jqbWXteP1qpebUZiAPf6YHQSWmb6WLtzizxJBLqvucmHMggXNevCHWh/gXOxK8itVn8IKfhogNXlpX0bYGV0AYFjXOlyb1gY0A9C33y48bUzJp4SKVJTUqbyx6YhCOCS/W5cZuiTfCgHdsbSE5HOB9cdmWgFB/wlM114aX3IVubHlLEBTT709TvtG1doGVUEXwWml5yxtgxXwL69ZrW9pGP5JWHNAbXTxmIcpqpPPpRzzeMM2xEHXhHs9Bgldfzfv6T3pWOggZyihH+kFIwTPjVqdTkV5pNth+uZNmRpi6YCPCc44UmlTrCAjx2B0yA9R/1JYfM/XLUzLVkKjoutnzX6NOuD4Ov0/GiFXpulQC32a0/5EZyhrmJku0QLDvcuAO8EODRQD5Da7HNELtycw0/bdeOU7nR0hXRUHEMREdSBs4Io63eHRY3Ei2ZVF/aVdTuxTh7cHud+vHB5RayKtVhZ2sr+cI3d8Cfu7W4/gwwFm9L9pvEFppMiOhYjC4AJJtQymFREx12iW3Pd3AofIIXz15DBrpDsa2zkjM7bbz4QSUMtS37aTJMi3RD8hOb1ul2x2bBVYYN5mOPUcZpVFIQkBgTS/Pxo3tIlnQWo/m6STDe7IfwWJGpbPziWyZ+t19HYiRJNx5yFqwASm3P8ROvifXIqELV3/TiS2vu3iKMsQVIehCgwy7jDP+uEeQXikVhT2g9OG2vqVY1pRf3bvpnfU4lYLa0mEO29OyGdfeQ/rgEgxiOzaP/zIEFuKAkLlKNGKZIfcl6PB0TKikIQUyACuNezrEM1USxeE17TlQPUeiQqEb3h9oyZmSXONMzWa91eg+1LzGoKV9EVt6IlKIJOyJStAbD3CfwhubUvZ+3r5pm3xtpwjIRo4EtSSHEdOEafpmDm5pY2bXqCCD6wn1+1+ApknCkQys/K6PPy/LWAS7w2YQWe5unh2aiRqVlQD81NPLzn1eMknNEbOMf/fmhCHd35yUVS4cqZlpRFm5Kzxj/y7eBoIVzcC+ZrntoC1orJjCT71eqS6KrJau3fzrD49h2GtxgdfDYpqo/Wl7bJuiMg3cQ/+qjiriYKyxlVrTxo3DVxRiDPw5VkgpEcOJdVjFavstbiAVBNxGTC1zie9YYZrRtlDz9glI9GP+4KA+9sLWfddzP3bX5onhSpP8dVU2ex3Xq12OStfDe5i0PI8YChpJeBtH/+l62gc6rCa4dhqWDQXO9uh7V0v6fiaIqzvXOlLahcS+Hk7XG7YBaIU9ymcJLH04lqCbHCNT+8Bb7P/2CErfQf7louGhKElVLWRZoJtCrgZMuvZ0S0vcocGeVTnsrRyAdYKeRaDPUBggM4F5ugj2QxMzSE8NPmkAF80LGP512YROivOU6gXaVzPdB9OsG0ztL9rSHpinzv7/rw5yTtTNQyntURZy0ORGyo0D98XHLIwRDJ2YzLWhk3W7LUAdedtl1B9cRuZAV03+toMdiF5o9s0Ni2OyMW/sao907OioWyad5Oa6zm7T7wYHPFux0axJBWBg8PMzha13xRzyK2cwz9WPllSnNagaXZGdY51KfgerHfZ3732pOdBtvvK0LbL9irq5YiuCtdJNoGmKD8LL/0bivaSJyqanogfIjWmUuGjtCuDeN28ArJW7/hl9arF+Z/EMwmOPIYxlteAq7xa28RjgzANNGhJkhC4nlE/3/x+Xwz+75zzkx/JJPFBJnt54ATm+PFOKH0/RLb6Z9lpkuPFPC4OIBDQML87LYpd0Gi7X9uEXK7oLLTCHZumHc0dlOqnBqR3vly3fjkpA9F2lSvGgxl+hgR+raWlzmotyAkBucIdDcVpcAi8G5mdbIB07GyX8gF34F0GqnLD5m2XGYb78fme7hXOTWkXGYJ8oBahcUxQm61bbyh1upEnxW1LTdsjqd4tw9bhGqW2y7WGOZULtmkkCGdBmVEcTu1tDYeQZ0fANblTXruCzfiGRvfENWfn7+nfBvBnhIi93KPCBwNYWkfFofr7ZoVmIvtEJBzm+TfndSLVbajA9Y21YoV2YP30IMlHwpLWWHZcbaHwUMSlQRJ1H2EJ+J0W2sSrYtvNIbDMaBUXAebLxVK0RFezTZX9gnUFB0EZcvzANwNI7b9ZgrpObFnhFFUTXnSQ+WU3RWp9Dz4jTi0pYdneyU3Paic0gfkc2xjEacNbwLZR5EiUfyGAn0wQSF566sPWMvbpyWGrXiMZk8lvW6c1D6EkJox0ROONYpRK22uQ3bLHl2k+iwX0jWgDfjQ8uaJEC8zN7RpRG6tW5/D83QF6EbuL8b6L/UEFsmXWn+seaZQNBIvGE1NaVmi0Jg4AUnp9/c5rw74ZF/mCedv3UdeGHwW/br77bPb9lYH5GWo61qZnavyBsk6IYSHIrubADGdwbpxd91aFGrZKLGBImV7428BtS/K5hlPnv8ml5qZjFpvEc3zkka3PnCmJIHfum/MujqyB3yT2NaDTcb/XvbLyGN+wbSzS23qEIMVrS7N01zzYcVTYEr+QIcgLUAIacrtEiNTIY0XIEFo6WxQfuPicRHDaW7nB6cnTqKdvHEOsUSBvTJ9n9YIa2Kos0NdPsUqMkAR4+SXpeoFl7jOTnQRm/m87KB4B8lClb4wbpj+IW+Z2S3JDuw4JG/7ygHTPixSUs135jm7u7RGNa1Ue5y3+3Nm/MVf/zNwtZduu1tjKiSfd1RVTADvPW0JcDCwwOM/Pn5ezxE5CfGcObgLwL3GxA4PN3ApxNnGmNQud/F4lUj5znGCrFD8C97w5KzktdAvGn8PND1VMvwWOs1AjkvyZqXLMJ+7yO4Jr3tbi4VZY+4Ka+pIehinoTpeuo+dGCRksGU2Ot2mN0rHSW+/B9rUl/F4Cb9rU++nRIZRmwtaU+V01/ZpYazNTrZJmvKTw0tV/n/LlmF94xoth+BGM/FDDmUJzHYu/DPP0imQUCjbY1C5jJ5U2wJfvmiGoT6kVseDUPpxu8R0ZgCS8f8RuG4l3/Jk/TjuAhXbNMndSCxRlkVIo9LMG4wtrgC7M5wGMqN7ckTTcpccxRTbMsldQGNzzNDk3PZ7hkD08wZm9serPSr2fbgDpmPpkFQNApH7awwI67phYJ2Iw36jshY/pdSt6fqse5cheqnt0ZA8bSLanqZg4J329KoOf7ECDRIAYd26HYov7hLMH4HbLEXmAWTXmj1xh3R1gh0yAneMg8A+8znlmSfeT8437VpTYQQjK97J1ZluGgbq+cvSAYrz3gL8Ix4U/w+/5tk4nHHF+5t+NqPwRt0nwROsffs/Fev0nEqdCzRiShIdIGuIDVyXCoFmVaSBNnSODtvVrj3QPPjHH1EjEWLZbqymqu/5KTABkO6gZjWOW1YbHZh38X6Lgem46Rxy21je2ZEp5qEYoyvRHCd4VyceVJALzq7IGI7sZzYfTbKkXsBGkp23RenaLBkMfpRnSp6tuEZ+NrWcHo7TbO0iGXce6OKMWGfqBS7k43MGpuAj31LsgNHl1ttxCdgDSwuBTcZ78YaXr0hoqiuaWjtIAxOowyJHhuGDZsuOq2+S9Lg4CQrIcVg1LumPAaiUl8ZP25FqUwivqmVDht4NV+LiC8XLYgvQnWOTG72E+hjMHEW/rXmHpKm1Uj4kO8pGw7bhZ1q3EirA9xpqRfyjU9KlV79HqFvVJOPDgCIOsusQfK6hf+LG/o3ZoSpV2atayVnkUJVitQAXVwPNqSiUjG63PmvL6h6MmbXABD8Nyt005Q14mv6nc8tP58dmy6GhFCNd76hgwyNpSTdXkWImD5TU0OrW1NO0rcfHmGuGinXksaFm3xS9PBa/DDsYscANygP5TfBlXV9JdlFCGt0aEgupQXhyJfmz1PeZchMGKCyqHnbe/vbGAhoDbZE2+xcXMryOMwCjkapKQSWctcN2HM3kgZTle1wzexPFhqZVIdi3E18L3p2rGa3nhnrS7QsulUkxD8eONYLN4AyIcCMz/Lpmi49OJ1Yt6bQe0Uv8UpBNx71GSk4J7gPXXwM6jpttEb9ydNjlH96qgOjNqzAROMva7qnf07vnG+jR1nYKnfhu08LvwbalqT4lQSYFNd0jEjgvZ27pchuJURVMU1aJBvETEOAj4k1YmKKOm3rXO1Pfuc0Qfxf/Zjrp6eer5oRzRpN7SXLiB/cQNkAlrUBaxiguSrNgvopQzyLxo7GsASm5L9ewuJAttKD57lwWRvIX0kH3sWRoUDlfr5QrqN263yGAG9wy/F/IS7OaR16EluNIXYTiiU4rgUb993WWfd8Ax6G3TRtuSoLqKhU3urCfb7+tmC4KFInST6v3ci3mqSVcO8l/89Q5ks9e5GqXitAzS5TxAVFOMO/EeLS8AumRNrQ9LbZKBRgoIbygQj2+DujciGo7PKMpywIMSLlXV5yVpStlRons+2xt5RqQAmVlUTZtDgsUF8tVIQ4czvF2AmrXEH3RInZd6AZMP813mojGFCEzmp4+F0OGBr7Tw5iHo1haLlaXIRyJ4OukvyxnQy7+uLClZR/iIe3c4VNowxFRp6vWSDb2ChAovCZ0X286LPjaGbJ2MbDA145Y+uFLCrqoQ+MmZkP7KQJxLdwXltCjngcZtx69SObNgFhUzZYEqM/tPVNRaAHPDq3rCK6f9o00PnD93aho22663QWOcOykV+0OdAb8B9Gj7GW0rd4jC7V/bpxT47CkSCFexxfLIAxMZ1K0IkdE+Yp8VSW81dbns/uad0mVPRq4tp52AMnDbDbv9a20FJ2qW9qhOnU67Ue7zuRHeWpQ9uraynxoH/3jJHO0X6Z/Xi4yNAIB8frv0KQMKdKMdvr3tvDRwx1c91Vytj8pEmkybko92VJ8P3eQCobm7wEnj3EKNmFY+RnTUmmHgkOvwrngjXQI1YlRoY+XlwIaJEpcUMXz9xLRaOnmPm9pSBA7Vys6/FzoBC/91eC3ypJfphaMz0316rCoJ/2ZdbdfHWVs6jn8vZkqftU4jm/bbc+K+xLNldvC+/apqKvMJ82x2MqCxJEKdFNmx5KscfpUsrsXjNLQySGUDUnw6mCVnqhuUa8dcIH6JoPhKVB1pcS6Aj6/CykAz9lu9nkEb1qHmv4nnJZl34Pyw9D4w/lfF4mu0Nuqa20FzKPQn4BrsItrnk8hWjKOI745l0ltqv+X1hjd+uJN+PrDQdevJQ0O7Sx448tTL12DJ9YfWIsZJlJigRebrEhVuc2PoGtPgMEJaA/SSasuy7SCv/PW78LRlDOCbj4io8gSSdEhj8CjD8X1Qarxrb03M4Usbmk0Ylmm53/sb0U3jKPCou++yQ7MCvagpBIIJo2kwm7a8IhGkNXyPM/a/8Pgb2Qes0JHhyjWB4jhVFbpwIqlA1rWNqq7rMr1irIEHPIOPA/4go7UG+c/xjOv1b59XO5foX1NQ7wnm2gorqviveW1vrGMPWvQScgX+GVQlm/jA0Es7fZqVyzW/Q6Sc4wNpBLi2hN9LDbUHHgizVmyXhzRW8BGrbLT0MA1BV1ZEi9bFE3N/EG4/Zj5KkLATIJsnhr7CIBp01HHjiQFst3YOUsoO68xn3+Sli8KLJFuoVuPJQoTgOLPFto9ycVVwiK7/o2Qa7fudcFbk8ELjeu7KhXIE0LpzM/YhTByoMiGdOeh0o5OPzxVFrO4/Wk5sO+HO0YrJQfOG+przSH3l1UoNrexYLhi1LRAhfE7PPkE+sYAbZ/8XNW2IhG5DB8+MYcqetrzOSFDO+f3pL066uevNYW6tS5BEapFBE2jyT/L8i3e2Cnnx4WyGYiZRVAZl4fKf9uerFD+xEMeVcfnhTd1fnTz5sV+QCIZE5MNuVx9/TdH2k+WwdXyKzry6M8hehX4Zn+68t/WEouP8d7kvSc+pRF2dK3EKkRYpPdq6AtSclLIwNp2cUO1KxeUoVjAOEAnmhI/MmtCqzqHhHBJSFu/CfzYuVFnMjDU2OpBSmllm2EKh55bqCjUuXdoYdIHNIMYD80lmgBmVo73bub7seJ/DXNFAKGN02cU4QahyPXx8PdikScSS7csM4uhkp9g+jr9qDLFpBGdomAftD30/3w+whuGGQ9jMvbHf4L12oaTVw/E3YS1Z338c83ZguVZqdSzmaG+E1MeXU/FT71p5GylnDEyLThljAUIkfB9Zd+o28qMilDmPVROXYfJ1DKZPH+/kf521WdkR/u96iLjK2sTes5W/Vijr5KNj0DmgrJt4ok4y4DZPK5P+2hJAumtz+Ga3O7Uzti7IRJe4iR3BHkBVYDxhoQEFY5Tpw5PM+Elq4DOqpDU0irqC2C+Xl3Mz8YBz6jAqo4iDO6hmg1A8iIvh98lpK9NxPhV1ielJlm/DfktzuIYsHcNKMcf/sFxj58RWZJL/bEJbNjCs8ykXKSqRnDHaWURoyVflaENvKiE4v3xv5waRjU79NRabSJUvnq070o8JawQZVu67y91/yFB380VRiuYdebG+sO7OIRvUVyPV6kYClQ9D9zT7GSNZKb+QK3BHlq8swD9gW6I/pUq0NxCQgjCxugGUwIgQaKPwH3jKCuxpEzmYv7kR14VeGLqMdMQh7Bo+YEDR4uP6BYLJh4lAOS79vCge8P6+h5M2zrrfBfwNdOEjV6vwTcNS17rPVZrs04TPXXxU/wQC4Vac3DgI/xwliLFZJIFonyyw4aTQ224bLDpRWBvWUZ+xmSBxHMoOcHPSQzudU26lC0MHfoPpFClxKXkT2E+CDCHInfhxTgwIA1NamXLfLIkK3DWlm5frkxOaV+VOKxO9jNhhFIxKAoATommayVu701ShoTi99xqvNmF45+thwUnFTaq3mOKMdTa3bcY3amcnCFiGRjoUfgwy1/48R/3wUJ7hhqX6/sOZpdRXkIS44gxpA/wLYKjMjDnfNN82imCRLd7qAq7NKCC5qDDe50OKy0/DmowOt8/FED0Oq2hXrYbaZys968lXzkWAzPe6H+yLsTKYJ9qOUuaoCWQ755jr8j7RO76PRpYprLL1iuHT+SO7kbSt5PLcX7n9P4a53wglJhFMwSxflWjgqvl5yh6MRHiZWQGL+enZXAA9YPutImDzwTlWIS8QK9wmmEMsSlbrLgTyh7zU63EGzlqutx6S09r1nejq56Ro/u3JDzD/z7Z3gZxE1frhcQXwwcSzPfOFqmBcNxIKLXAVtBMbbDnhw4XeQQt1QZsWpdTsMzjljJgtJUpk4DddNHVOZmL1Top5SN3q0ak4dhIm8YG/+DnAckwakvwntMg9YGxs3UD13wTxr8J/N1yINyQpKykecaxtmrlwLfqaqqxBW0lhwA3lc3AEOTCuJ81EHnUNrKqANfakdsn5fRrZrEmhKGXi1sHBWDafeKPgy9403wvSB05Y1JM41H6AOlXUGGLgV/6WAVAVFtHxVrrH/aTKiPyjAaIWMSVZ+RIdhlZDMAbzg4Cmv/tpdHh1ohLfG4C0q4v12Tkl8gjahUrqTqBZFKGxB1JaEJqu6ZfQ/wDaQHvWZm079KZG1mmJYhkvirBdcPALWKMq2M9g8TWWek2aBNBARJlT5pbwb9TZx+FFooawN3Rb37LyvgHky6TQXuwMCAdDW0g2cfIrQbwdzjBbNAu969uAZZfp6Cx22WdWpVd3CfRRx0hSuHkYuQgMYgbtPXyxOEbXJQ7wry1YYLCtNPoQWJgLmIjU8hQWiRd0zg3rULJfwRxcKEW2tsf7WaupRkAQxfofT95+YI+4hPQ1JrhgCwJD/Ic1w4v0CXZJBXyrQuUQohryl2TLt3oWclNQ/cTa47Kbxt/LEVIbHXiveEKGpQoeLRLnZ8wfzw4zvg+CUrK9pe/90C0TrA+q2ZUtniV8S7TwLzm5OxkoLQY5BdXll4FxXRfLiHoBrbxpF0vPYDsPQcXachQ5ARsxvL6oHpNNucRAbn+R4/ad3CmRe+1vJ/Zp8EonjsMR8gaNXHa+Rha71pAul35ZwT1u2s3z9kIof6iiehF4uhRXZoE5MyunsqziYABdhbCrTRkA1DlAZfKJZi3uWRTjBxxLv1kv8h1UM56DkhDfbjF8z3SoUPK6E8IwsJVR8WGPR0tBctFWzA0ZXSjAyh5RRcSr9F/uyQknMaMuXMXanE6iifKckUnSTw8Kj0BJHIKAnOG1TuVgcQ8MuQfyrv3gDVKraO2fSbwdEd/9LyZHtOifNXMtzrAac5Gd9paaBJUWW4mp5QBE1J5TN69W03Uwfwv56hgSbsEmJaUT1DN+8JKhhrt1brSnrwTsLYe7nIGb+YjeBOof7tWVEhBCb2rGjAzxDkCGlMi3hEn8jw5k+kDPx49TfPX0iPGZU/2rFIUwX3gGtTY4Bw6kWaPLHzaC5uRV8xjNtt9/QYulj/yGKPc+GSAvhBUSt9Nupo+RDT9o4gcABZXoQGDWkwthPNP/gpY7rLMKeK7CZtSn1rlYcSZpMnF/nv/abFJWu5oKWYfDWbsrtLyKx7/Pd+ezSHVPyAYuDcpT2XZskQj+Sf5KFwhsV+2KZrRmjEoVXzXUvam/3xWszJ4vr8cxm9gZuXc9T/DS/x1AhdfSpNC9KknAh50eiZrQXmeKbv7/sWLGAJUshzOg0OuWE3YE3QvKiPdbc45ly5wUEr3LLPu6M7BVgRAhUdtFRZzPGDIjuW6Q6vEMeqdWOnb4hQ70f6Qrr/Xpm4Z93w9DLt7DJ1iXOQCc9UklMnUQhDMP8vSlkiKpfrp6QAyGLtOD5DC35ndXteHBPy9y/AmFSrprHQL1qffaDPaqORe0xXXMclEGMleOz+BQIF1qDyJX3ayvLpHVnJZBrYVtZ7gzYwGOYWnLEJJ3PvpU0emkdZ2wNULtLyvHnaStDHR8mFtTcj56VkUZEVrBF/fVw3BMJZkCdJgrsM3GuSN4Pnk5vduV53MipuG1EuzNRm5jbOluKn+N2ZHuHqeSz0uNXEwB+zSpUgmlOIhA2sD54RbpqC7CH6jC3Ka/n93Qe2XinU4R0Ta6phK8ISh7SQjOqmS7HLHbwenPXswL4kQaZS68wSaHFG0zJMPLaeXELMU/DYAC9uMSA5lVB6V+Skbov09c2awzvQmRsfySSGnOH8G6por8akGgVNLa8NvWZ2w1oWc29IpQZo7/DAwhqIUxUes5VClWLO9dKJACVOqicueke0sBDcxPvB6z1GRMCPL8moY8Yboi0QaftHtKNJK2k2F6Ar7/9OIwTuFPDgVkp5eVPPmqZnTr4BoN6Tocs1Abdv5Q4IvdujM27tJy81katZ1O/lj4NKvqROVnBP6e0ZgRnYmMhZZ43bnG+RdvqERmCIUC8X2ILOHX5G2f7Ml3QY3BAd8G8NI1IWy3U6CKhciZLDZ/DALTyzLbYWDbiNYS353/GVqJR8AkXQTVs78ijKOnLoWI1qA2O9AN6rh9CLLmocP3Gr2BNn14fwKQJA93xWOHNd92vwYmhNDdT+UFfgYDSmQLgzP6M+6lR6/hx9TUZaspucPmCaA28UMLSOSKwJTdVHoRewHNC/l8vodbZ0yhW7n4Gdkt/hWccmyJ7GuZeIETt5Hh9+WGesk3jJCUzR8zlMP5KzowprOmi/IEXkGcPkP5NeptS6LAS25xwUzuoTZWbfsUCHjqs5fo65uxblsD4lX9TttfcF7uSMBtfvAaJEq1fqNC1EBAmsd8gc4wexCCJ5imHrluS78Z4KVDxzy48YQKC0TU5oLhzedkaqK1g73SEvi96IqTQit32BuRbzNUYmzRUHHwZaz9BnBjAEnzLYYgpRvSyE27ssaYPMydapdCIRqDgmvwXtAm9U5/fDCGt1k+o+nmr1afcBcP5uuiqN5VmSAKataNs+ZTVRJ4lE+IPxlj40HAHrFvqQx6y/mDRNhZFW6gC6ZI+M3elvw/QaNf753By2nuI9/BxZUNfyeNHPGx1op2DoAv6TwkhhvngON4Sgx2Z5c2+R8cUREl+w/2sqyJ5uAyAgll90KQUN/UovuDAlXdbHYOs1ZH5VT4UwHvDFVd/uE40rgG3StT8BIItE9chuL91sUE6fxvhg4qkzj5cJJOV5TtgS+MM1WFsQbvZzM0W1kdcX8KmEgS/5d/RQTTX/jAmolDPekLCO6wsv1OTb0C9s7KCbhwzYshIlF9xHMU04jcke8K0uHWIs/ue+f1xyRhTLNUaXpMhdlbzZBZqH6ZsdPk47rl1l/wPONPUqqf9KCRgHdPIbO5vv904n0SfKQDsUrv7iojxFpMj4mBXOLe8BcUpZTWC8gDiHYFrnt75bQRevC3TwjxhheA1OqOCiGJM9kMzztPegQHucSm26z9nWfmdmBgcQDe3rS1uPfEYVT9jHlZJrocQEQgrE76SFyY9BkUOCgDNubu2vlSIHRsQSHfHPbhLI1MBtO6pscAZSZXZ4Ln9v3CW0HvYL8d4+ZI+YXx3njariKceBaYpZUTNTw0P0Eex+Z8B16ss4Y52dUrkHqpNN6F2u2R4nN4wOrlJp/ZDpfv4Pw+1jcTp8RrdKqf6GS3tPzN6V9yS0BkyowqsaSTZ6kr3Rurm3GSpGyvUxhPLJJZeQnPfw4U+AN3sAAbaBLmPXSm0dm7rlpCM+ljjI8y5O9HMVIZrnDPVwY5LnFf/mnL5AWieT49OyXkI9vWkAZs5u+wkNXYxOlD2CisoLhBKI0UNm+9HNsrykRxzi2uRkYlF/3yL/STU8TcD3IUrLdkZehaCkesNNitmKbPVGk9c5fxeB82CVHDdkG0MusO4r/i84DphdsxXgoY1YRcffrFiBYCcLlayZDEYQ/ZOFQp8f7r5c31zmPV1znYoj8lJJxUe4aXGXCOobF/XAkAC2t5DNGjmp/RszoPIkb1p4cxoffXt31Rt/NhE+xlxz/BlRbOjzBOBTAgxfmyBTlKaytiLMBaWOJcpEMtZLAtTkd2CrcDVRgDGjnktKureA3DJ44yDQCPhAAtgueN2rP+eXIUzlGUiZ24gpplLN+shAOe8sfJiFdoYhLYMyIlnegwW1xhu5CquTwIdjpRav00VwkJd3Sek7mojYgALNkmo7vu+gIh/Bqn2vKMsLIlmAVyhJIVteaz4HH+VNNeoAl+4+QfljdhFYXv/RWZdE1fGWYpx155Fo3GGx1/Tlo4brqx3LhB1D2nWBPsUoXxbA9nrvmIKeWXy7abu6nWx55I0lfYXYt6Qt5lN1/DqZuzPuUEeBj+qnMQ4vgta/UrwCY8YQtZGr4piUIozPmjz+hvYRgAvAub+LZYm/OeslgyfB6pxJbHWZEOurMx2Oy7oL4QT6SPNrQMy6AYmeuQGsN13XwntpvpeOlP53uaYcRJP1CiuuT+hag79pNEl12Jyyzut5Kbhl3EkDsNIODyDulZQYh30rAlpglJcBrBbMO/lC8g8sOqOZn9knY67m/UpM3lai8dpm7dd1lQ3EOgDZP2rNkYgw5AxKtdpo6TQy478TOZmO6P7h8MGXjwdpEHNVpqGZmJbYDf7v7qRH68lVgcVLT0Ky0L2nDDZCUEaaPkuLLdrLZmd/eeAUsHJVFoPeyn8BFFh6AB/s/p3PFFjF89Ucy4qQ/st0F0xJO0iTjMuEZc83TSn2lA83JePp3F2TgxqTIqiyb5cw3VEb37IrkO7zhf+AoBHhl+DTRKmVlNMdXBTTfsSd3OuE8NkQ9xon0x0zv2IPwq76LYZAaUU5O7XnbkRxPpQumdwWohJmK8om5nPNXRYB1LSqnggHIDHAdnTPcsz4PVNpfB0ROEHU6teqN1+zH4JILSYFhGaToe3ah5OQYRysspEPbtT6tpJ35sNjH67tuAfh632F5lxJGSBBKd/rY99DLomGbMeUSKpDVNEbOSvJJDAI+dA9/ZaHamfe3Z1apdwo31PYvE3J3bY6m1YllUFhaC4PSbQ1UG66Rlw8ydMM6zfDLIRrTMDu3frg4YpXXckBzd8n71VmfTmTXkyfqZ4LqkQvN4WY/dKvLo5c+1nZ0Ddf+/SkKC8HKjhc2jzxVX+KmmApCiInZEhu+hNgyexys4m/RzOS6QCWLx9diHNOWg2pyW9gF/9es+yuAtsTmb9PMcUAIOmH+vCMSEJEMlV878DD55mqGbC+8DPrEScZTqvO3VvQ1urhCdye3tpMGZmtcstaBP2dgKPJmIiKkP4Q5poM0iim2cyVtm+CbWUFl8i/4q5aAcZr0mfIe4p0/+G8e09tY6Xh0ZOetLSiBiN5Bp7tQeX2ltdIeae/ATLQ+21hJzwyE666jDt/coNFdo5szBXrlPTB2tFMBztczwTyQ03mLS0YOrA2VVOKQJLrWQtuV+Axrr2aciL8A8U/yus2jFyQlgiUGRZa3iFIuEjqoAS3Q1PA5jaS11ID5Bx7tPfGPVD0xsU+GO/s4Ph/IJwT65TalQ73zotA42X3krMeNnGOXAXhHtR8Ovd/sMsEkrzyi58RLubk/wYvRKzqT9Yt84/3g5pDhYF04dXyNgKsTZGPshNK0dFT8JItvnlzcSMEymnP/PEO08NyYwOiE26R0Blojseb41L5807sCG5k16tfvei5dKTaTBTnXRHfX3A7ZxGvlYqBhOMyQ10NZw8o21juEloiaUAAE0sJ629geOhv8ka9fmo0xaFN0UmGP8mM1f1gAQUzWyJt9GSYX0D4G1aTNmmliVKDCTi67al+HfKeipFEtYG/uTZzSs55RMLJrKRbR1hmWGMet4k45TUAy3Pd4yiP8DduLQIanqU6Zvb2iDz0zlGaiwJSxKc3m+n/yvjHMvTHIJhz8Kk5G3avsyv6oQJqgQ9U5H9ArvklTDxzgTdhIbE/KPDbfflkSFS6TbVcRmfAvG2DBO8ob7z+7HAgh/F5KdqPYBWoTiNwobU1jQOGjPKOBGg9Rne4ZsaxgknjV94UjSeA4W72YUqguI0qtpki4+pCevBG2Ge6WoD/eBeRaB6R28VUPpJsNaodHCo/i1KYZinyG0CyGXDyQpjgYCxKqpwk0uppLunnb5yWp5m9FSUHeWgZp2gvfoEVafiS+7u12fP1tdqKqRkIFwVu2BqQ8UPWC67v5tP6SdHMiTB5EWOFQHxMLTP3rbMB6TLO9lccfXaDBN5lgMcLSbuODMQjmc9YNjCXvurtd5AG17jYx5y76tFrHDhho8WBBzhU9KOBWWmakOClQJG9Z17A3SHhThG7Wg2dU1Rpq7bn5Sk2zNF0o4w1NRrAELwiYDTLAdjFUPS2ORdsgn/RzwinGcQq6tsPWpAXZN3hVqPFeBEOe84rsAnZMyyKwI9qbk9K/TR6pDK0pcBq9MRi8OxBz2nxfLnc7kF94C2olXIsIy9Nmv0AFfyLX1Cf4RWyw7kCaotTJ4IHuvwxKJEGYkXt8R21XpTjbJWK3i14w0h9pGLDtvIMIe2Okkao5ldrY9t82AUV+fWJ4Od+VOsPPL3YDHppE2QnS+qx559HFOaGoTiBOw2D/Iv8SjZa3KyskSL4LV54vegPcTwKfQr2UiniO5C2b580ZQ/MLU8+EEUN4QVwL0sfZ448gOIanG46Vrbn+On9hrjRHfBAXfFUghxQtKV34CoiMJ8u3iqoKebb0SphffC+rQfioEU0A2OzMZpdVJwsy7ciqraq5mhAXs7swu8HaCzQp8fGDFQgRaYF7bAzQUCQqzzLncSkst1x6CgiNQbmKkV0DuYu4UDcmE9ttcKw9oKcYjEzPTjZQpA1la2WUDdRZ8gB5kHi+1F+gGyHnveS1sQ7S3HMfS3o5LVtl5u+MN7Y6JXWwnbDCKShs8hc8IAH6ElzdNze8XAf2PPJMdjxXYmjbW7qEkxOvN6X1Nw3hISNRZ+uVlmWKAWT/+GjhiWY4sBCN3ENj6IzRzis92vmfQfomB5j6Dy3etg4hurPD41eR3uQg7ktfGntLiYbpuPuOBT39cJiU1QTquOXGlCXeozf/czMWdf/turL3+wOIvcR0RfPYa9lqNSP7WUdEvEJKqjiq/3NW1XXoVytk9fSweXzz9duIftqnoXm4pJaM9yGvLyRTWhDYpetesbHDKcZcw57kc/lGsa9pq5bMcnbsVBM2Hh4lgHkHSUMCbKGc/bOlYWtof9MAC2z4tAzASbnR19zZBc4Z0AXCljJlnD3/wMLv3Zx6f5geMjo6H9B9S8DebcAlqQZ8O5v8AV/hhDQW6FxhvSsYWQmk9m+PHvKLrtPKuN4w7ZqfU8OmfNpKHUwlDUlqPguIgu4EG81yPX4b2mSNj5lN3AVLUMnEzbgIbuQkifAMV2DTbUfI45afgaOysSV4xtumrnMFouKbmZPdkzw/1o8tkbfruPIl51fzM26uyDim+pLx/KMD2ahT4jZhK+nRlmpyJdnGP2hxlgXuziad8Dskm+FkyRYw3rreVIYS3OTDPWWKmaEIM1pE0IrK7AVT/rXoZ9tp+Ctq3/LjMyodQuj3PJh2i8qiQQVU+1MiNqnEOaYL0MzYYQmDwe4aK/e6SI1d4eUzr+CG2f6nS8UWeYJDjqVsY2RIqNmSmMKcHyiHweABUdSABlfUBUe5+LloGxY+zg1XKN6x8DeXapFhisCWsLaOHAPfvykwE6sjLIl1neH4Iau78+nvahpkSGJ+nZbpoJY8e4iZKFVwIAoAxuw47xYQiwr54XP2Jq8PyXv8rAMytuds0u6c/loyr6bNbgoc8UBYPmww0uHXgcBv85UrUppNW8f3Jc52V809RZddACPVaF0I/ekB69NqJfocPL7te2JeAJyYcuySozayFzXWHc5wLJlyCoiMJQYMtvE+D6I+D1cCOs6euSdSUTqq/VCpqQ9HNBUHU3+i1cQBg9KO6BjadIuLwXdLAEk23q4Fuy3W1Wv1K9UEnK1VgsG8eSCCuVZSizbxkLNns9o4Lww82fTpMTv4zLxiMvi4vxq5X7ZpfPQRr3pY5VbSr0jItlVqmrKeaZSL5fRPI7F2AOJtlui9td1d4U91cWfs1gl/dze01L7y0zPz30Zu5jQo6yOK8oNL5DrrPuHvhqu/KsAVcFRE/GdqND6Y0L1Th1IqAdlMk0o4daw9LvEz5xs5jscwxRTasQLOQ/hFlIumSa8GDlWv1W0adMJXNy+ZLHRrCCi3J1AOanUMdaQU02PeUBDhH+tfJVv3cpSvA/4fAbh/qkPD6lTvOxoQSJfffioEu8zA5rqR+yJlh1QsaNtsM+Z0jhXuWRa6xIqBeQCgggevxnhlsYKfMGo141PmmsVGFJ+qcmbRbzioWPhA3d7Pq2xv7+KcAx2mHwr5EFGWRRxOrPk9PLoR8vyfqrytjXQ38Lm6b+QTBOxf3SFdrNWVFE/F67L+Dib9hxCYXskghGwH7i0b6jLPsq8wJKR32nwzDGMrI7p1c2wa5CL3cLXSBVwnQoL4X1BnCjCd3OtzpYkKoJKVGTQ0jLer2mA9wA4xvTf2krQjg0HPwkkGU5MR8BmtvVEl1Vj43lH1FQgtE+6q1/DeMhFigbh5K/oGIxYbAQioSsx6AXgGXCLgJiMsgdNIL+jvkVuom63OqzzL3ufycbyfJGs9hsr5bHZ+0qXy3iQHL6LkDSbwbAKzCSETEAJWaJn6heVn1wCb4yrskAFF/oDiWemV9BFZgg5ayfJ97zzbTPmuh9qSZBC19RDYor/BiIjaosEidq+QFfZIE8EHthIhXn/GuT25ShQt3/Z+0imd3vFgTphFHr+BQ9+IjNLX74gZ94Yff2Q+t0xJoB/eRb5okQkfNhKPrDy27hR2zXYxQp3aKVUyuuYZjfnqEIP3Gi/t3ZrB7HYHssN6vHqA2OCHqGgfDwVK/QtPW7+U1wMQHbaA8tC21Z9Nm3OAz2ulhPqeCOwdb6wF5IcsNBeT0C7v0ZHLvtxqptPZFnobO51qYvv1HuJZ54Kwq0Mi9/4kQR59iCzq+Rb5rZcRHc5hznpPheTwH8Nl0OZl3qqsA9ZpJ1xZ2zSz5s3FMjfAU4xtvS8sUV8ZBn5SixZ4cmI9vcNcA3yQHuEZJgrBNBFFSkOkCBjR+lFwJ6pv24l0N9eespEVrswYRdpr+Abw7NJPG7nft2HWuTqnsJctOraKg1SaGzrwI/A6KODKlvS4P4SQkDX0fjDHSLuBEbQSUnzbYRlXGjWtwmMClkZQZ7RZAA0dY1Sxd3Adp9KyFVZ2rxVGuGsDbtiC+IoUc15ticqQjElQdoBXQH+CZ3MLQl5LcEqgevFwLFPgHgS7dasVhRlqJzB/oxUG1s8m3/zgEd5MF7GKkr2POUIKba+1W2oIUyi0ofZhIjKu/3+sqVuTXmQIbLFNWfXhndU1OHTy9J2u75dVaQ3f75h3BhkBuWnYKHge9XeViXH3r45qGuoUnrZa5Oyxpsd+wtEdKF1ftSgAoCoU+gq5ANzkX111QZjC1f6O4GWP4iaRd9fruJCf+jXxeJZszhQXRalMGZAGt91zwm2Pj7mQRRpslsFAKOjlZPXeA/IsyScT8cAn7I/muswnu5UsEG3qM/N3Qgdci54ttF4ZInCYn4i6PZEpiK5YqpGzUmGjCZmHz98ugqv38AGSpjDXDEJFMiIE1VmdAd2gZMPUKGsPzcZbl751aofnjSSgFUu3VE6ij60W0zH57TQ4pKeTvowrlA4lArAkneM2gE/sM69fQDJDcDU3YKoiANcODOqcAdeIur6/UUQR+Dqpqq6gVPd5Jd1R8HjXthS9UpO8EAQqgv8x9O/NZjqWlvhVs18iwg6RP7xULpXgJpfaeWn6D/nsgd57m49T1ApClkcMLPko4HXriCfuJ6xRVdqtEGUPEVsJHPo3h9/JVxDE9suVqcw98fyAWybhISayCls19Eev4M/BpcXUyI7DkDcsD/jpvaJv/K4gQzlQiys2um3a/YeAIqIzvav79ittqwZeGgLLhppS8zImytnRiruQimUly5y+jT9DjGcfi9AlSt7YTDHEt54YirprssRpfsmc1s6RMJ/LdjDZbQaUfEwVyHTGhA5se5teuIyGbnbOLYlGZ/wuONBS9VB/W6+2z3vlf/USEP8cUTJsebyfTPttkF+NToIE/NXk0eGTDT/Xe7XRLppd/z/zPwmh5HVeFHOJG83rGBTF/Fzn2Wfyh91Ze/OTtvjsmbBrsZhdF9l12smpVvmRQx7akWA1+e41/VsRmTXaxUnWct2SXkgRvRBGGvnHStZMbnCf/y9AKPUBMMYBydViONu+6TNCW2Xg1AMlSzfsSZirhA7ZYGtez/tsWUL3H6KmYRmIqfXQL1s7v1f+w93IPPcIGh9ITG2TQU0OcoaSqGJb9UgjeY5XUS4uqs2PsGzUptsBZXLzzYG9uXMI+MDoeGi/w1GKAiPkDfZtTAl+I1JqAGOaNWN0hKQOeLMbA0Uv2jE6cdsG7K3gjSS8RhLBaUQoBBEzmuQB9S3SS8l8LAyeclP7a84GNWx3xdx/hIfKXFvNjZkX+jPjhGejcf2hdBA+M22zDtmtmqxzjWlIA/cGBpjwaQ3zZf37OgYQXHeUV//k5AtvzxtzfbiSIzgSGY+XHCJQKWwwQMjoW51JBNSXBzwXXdXSg95tSS35PI/hP9YEYULtL2HUHBDMx231wIwsCgMOO1zPjQv3Pcmx/9t0L8j2HJ+M32tMevxeLT+ACfS9oIY717TXTlqo+bULY7nXli4WgBkFihw4ZpPhdj4iH0RgoddsPi/KGw2/YU1icM8j4VkzhwJz0b2CMd3xtsTl7pQO2V1qssL/cHjaehutAb6zfvYT/vAYdJ0lCq47+8naoTzz02VeVxiNE8YcfcL2kHSAAAQRt1qeklkRTLWuCJNdC8yj9Etiu6oyCb7zAiNNE+Ybyaz7EP9PA8ustHc44N7ZRINS8xGpfzePKpn8WtJWynQrQyS1KU7PHQo8P89jeBghg694yG8xBjc2LT2fz6LldsUFn7Bu29Tm3bxqM7/CNzj2vmNIF5VMdcWFcGIWGVt0wcjI0VpbxPv+ouQsJXw9xbs4Iz5KKbLrnPrqxxtP4V8lOm24qM/WUmlP/5OczVxgSnQtQbA0EerFgVJpWIPqvVsKaont9sMNUbBvcm9xzrGapy3ZAUGjsALiZNyRRSs6Jr7Zd26Q/5zBGfjR5qLyyoJN21gOZymELZhP7wTO0NC8+rjL6kV/vMJADU57SlbSJ66ECQ19fZ6pu8bJayBGZtVQ9w9b5N5LUl0B4ul0MBwz0zrvGT1tNwXSyGLadVPESdhGSvnjwYHqdPOtRPvdRZKJEsTx8Eq7ZsD+bcvVd2EfTOlAv9NktEOu7ISCVpscAL8IQ2B1fie7c+Sam66qRyNu5lp7PlyOX1+KAkGmjBiW1c3dq6YLa0RYOwnKF/PIpNMudy0ly1vh8YDFTQ2QBv1zc0FM3u6CR5ixh9VAC1bFzpfVKaJIrPnOOroQliPFJUZfP186KbpON0qjTJvWEMpu9xvRK0VcR8D40qgeUKqvDudOZ52IRGEhOwLOmLwwPi+CBWTRqlxIpwgKHcWbrKhbIBEMLrubnzhhA/NT9ubxzirdHlpADeH9lL78og2C7u3YrEJWtqPJFpuYfbi4Euc57Z/i/4VMmAC1zUbqof/e0jpHpkpwANtqV9lgIIisIMC/cqONB+dviG0+y/DJVD/WbziM8Yl4BJ7Kfqw7U+61CpJx1usXMk9iwyNVIevGguOTihGXW55Lox0HCGQjj0MT+KZdg50RjL3e2o71UnflUYELHQ/r8AYfyVHHlbh3eWRKWXlGwPPclhNBnyTuNGp0aIQa2twbfEINfn33xm6/5mCsOU0jXCq4nxV9I0xmcuWx8sdWG6aOhlJUbouX5pbJe51FrrhpJkPKdpvf8S0UwZYdAlb7TgEwvFHAp5IU7x+xwfWC+i0CH5sHgdRjixyTOI/oyzBjGP/JzqOfsRJjXnkbnJIftY/ErfADAVXUFAS9v6aP6JnpBIgMTEdv5G0mDmPZfcEHYFzNqle136J42SsZXGVK01/N00aq6uWPFxVudY5BYAnG/IeRO30jkoWuN3w3EaxisyKw2tSoE96wpd8RaDK0JxnCrvxKskJExid3Cin3xFcK1XZ07FDJFd9UuCahRYMId6nwD4yIMF3hihjrf6uqS1SEzznQfN6VbG9Y434+BtDk2XOLWHLkugl6GsMX6ZE2NX0xSex+RJJeLjO8uVwyWFf3KMauHbcNDxwc6BV4JBE4zmnLRTkCOKeZEkFQRJKTdH1vrtKuGdrPsGo+jC6nDChfK/LoHKkjRMUU2G3TvV2auwNcfyggklMepokDm0Ek0Jwf1zkrvuKQlYYzxrvjeUHglZ8WwAoBmv2S64DRCUNyrr+ZWrSca+xqqVzOUEZT3pZlfKPyVkQCLp9caaxkH4h9qWRKeHHyJMi0Fr2rpfN4Ua8orPzkw36yOyydxn18/s+Z4wbJQ6dicEOvvXWCF/JcIG19uwL5Zyq0C7OHp/Uapo28Wsz2HNmwAa2Hvl3EKTHqCQWoMINmkRDlMyZWlSttMMz1dSamwf2qnMDLYaV1T61HHk4DKDnUt+fUXZBLHOu/j3p3iIajCdaRB1oAI5KCmx9H+jF+MHKtYBYQdury8PReT2Gocpees2h8aaMx9FVvc87/jH4Vpbk8ee9cZHJoPTG9cqPxMCPxD2sirweQf23ggKz1R7daUYSDxgRCZ/v/rrkTO9NSKEDoCE1KJJpvEtiFsRno6flc1gda0vs2DCpNOaHSMsecVydfL/O6HBYwdpOoCgMM2haJM0ke1aWWnP3LhhXcr8i0lmhs3VAI0Cr1S0MBv30hQY/g1MKVSEpJOy0sged6i0wru2zfX+g2eJaVdDwAmJouW0k1PkDwRUM5TSCl/dEZ2fbUaLUqcfpbqMg2bgd7Dnuw6xuoGMWENKScBRWD0aQUI/iYvFcG/el83tB//5gfUZlbyTFeY9axfqy7VfCQuQHJQmIjDm9JN2X3mUuZ3iyNjneYeYODF7AbL5xldSXuCT+m/E9+xSy2p0OnKjzIPa5t2R27ztBBsJIThmVo3+Dg6jOWAf9fQ2Ohwk+ynt1lTey52UBcS6HdTzj9+Ps8pbNJciMT4H+4Bn60BSO5YYIKhIVWNSd0V3upFRzK9ftCb6TdydSpthCXCTaPlgszSkcmRcIILnzwv5BevcXfk5w+iNyGzfOjmEFQdPbbXxGPplCRhQf5XNMgqcPp6soIcKtBVCqxQ3V+F17DCFuhUvWdXPwvG5Xz6VJ3A5nkJxgf8S+6f9P+hbDVDihNgWVfw+XyZlFWGNrDgN0QqUago1Wat0UEVEBtlhLx0WsECRbBf9kmBJhOodSaSx7xtwkbX6UrnjDJZJtng6gnJHVO3KvpxTWQiCH0eV/C32AxaBugOv0Vu6ohHiuI0gISFLf3Wb7vzwlTg0NFFYt7d32RfWn+98yqjKiAIqajOpurlDX5o2TVJewr5UyMf3/8cdP9Kkck9jJzK7YO8+M0C9/+hmiMjPD8vzhWK9QU/rNgbItuH/PCkja6WDSpl0nbLOZFBOOv1EpiV2I7Gm/QrTmkvQxHhKcJ/gTUqFzya09bGQNmmfOwDaaf2XbVWldKvigVfXTjOSlaYgjczdcw0pb4tztlWNvtSP1l9MEgoUJxKqu8Liz6imajXCl4rIAGJ1038ObjV/f5PHyG+5pyIvfVtsYtUoCt3QAS1CucMA/a2xyTPFbQg+1CMlgd/Q7UJFgP/YYtbfhtu4NAc0W7/SYYAS4brFyecMo0Db73S/K8pgqm72edlr6F/SaqPprpT4GAoQq82Mi1oTQBbr8HzkpQ9AZUCMNle3viQCUVJgTVsRbrYRo78w26lQYNx2PjX00DBt3LJXCfyVVQPoxoZ5gQI/nsT9WpmNlQu4PVdu7Nwf7AskC56UZNIeDnqaa7eumKlQ7OwzQ0Z9UBHiEwgK9I0vOuNjZvdT+VqjI4jvKgRG82TE2hRErVxN7luN2W3HLtdlbhjFb4CXI+8foahVGNi6ISpQ3rjGvQB48MA9ppsRs1DJ9Crmk/fgzN8NCD4WN7aqDNNOvqqBz4WY1buBG+7/rHUBkfk6GUvi56A4JrpysTRNW7TCnuJ8f8d1WS7z+kDh0FoaR+QO+Dikl2QaDvjIZuuWhVm5LfLzddpEQqualsXWq+te66sybs7sb0Lzug/RUlFY/A1cmcJdsSL/p0Itzzlk6UcA3vMHBR5GqAzkexKMRl2h0wRXNf5erFnuhCGYLvbHgdNtKrZYxTVAEGHACOxlI0OVkzh77aGb5gKaLsLZpSbI9WYHi3tcr2+8Ud+MpdTyKxq3RtCwwcgF4cMq4tj5YCiRFbCrG4IEF/uGursOX6MDVfwcjU5qxTYlix69uVsEKTCW/A/Z7IePRVD+nmkaASV+W4384SCdbtHk1Q/wrj9m6XHM6P1VWnoUjXIdkUJpLcI5Mzt+6JYEVxBjiudYzzIGXOC280eq61mmnmVp6WLLZ/pkwUfnUZnUjhiDnYts+xqIgEuI/v+y7ipUuJKH5UkzxCAoewaNLvDp/boFiFCu8iM51zDvPgC0j/1dJrWfT/fnYZ3Ly6AKIHKujvvFXGdyrCH8EC5vgN4NSdw4ckXkSbNFe+r8TAdghZhPQua5fo7vMZzYsJPYNd9d4Llqfoj2Iks+rYtxB8QXRgRbVq6mHMDX7gctUdUaSOifZcMqD74ThfSxfYQ+wTa81q1We0PRWdapmVawTWdfbzuLt9Qx2OqCL4QT6VYFxrOEDMkhPlxTt1jIfP2+nazPmZJb3jcWZjfFfL0aYTVuSawQoPnAvxopjQzrNVwfeTk4jLWb0Xf1FG3qhhQbNWxsn45j0H9+UJk7hfLQkgRyw6MJ3MIJ0RVG3QBW/agminTEG/GPy1Kq0mpNQvsHxzG4mOs5DTrTzX413zwyjTZDGqAHNAzh0pBN3kYsWo8DRw3lTLjBZ2TYmnKqxYpyUMABmAX9nj1cKfvlHx7/PiTskb+VVHryvWsqWoJ5Ykh4f5m4z706ImYkOnWxEiVlqhKRBXI1nTv8zwPTKgCaC06IHJlTLHYTXU8LB9R4vDO4iuUoPAEhLaQEZ827YbQlCLJzT3RhHj0aozJ1ufFWQt4FHsOILtAPdzXenuBkxEGVpI0pYL2wKWyVhv2iWrSSWFVm5udep+9tzKPhYqAbsCAWWvvovMCM1sFDta1iKgOXEcWpsyOxxOhf7GqLdJNabmPuKEPFya4IDOgYMZW4A8qPzEFEAzYBBCTIeBE3vu1HH06eVyawjVrRYtTD8m+4zqgssoRxY4O2gBr73Oepc/QZG4Q2k6bvPUM8ZVfl6XYijTG+KGgyvCT2u7K8psa7exLSkm2nu7buAhWdzmm/dxk5Zm0OFlu3ZIW/QPLxVTvRMlm/HS0CWeG0+FjH2GdawdXn9t8srVcONFOkWjyrDi6GQd1d9Y1QOIbrADwHNQ6tdlYt8S40Hu0k8aStrFRNNAlXV+Z8L/OEjXfQv2sPudGgE4suVSp0NhjYiwxEStiieGNHshriap51+3AQ6FHd5gqcQIiJS8vXWse9ijrPIDOcrd+2lsMvzvw3vuqT9pfQ3ja4/aGN437QRs/kKyIkF9CuTPyovOsH8YGYD/B2mcYTs9fDnTxx1MO3KngO/BcHe6FKPxjFtmUkVjiN4nv1DNZnbgtqiJr8Kac5M0z1umeIqpXoFg1hxG+cdm4z+YWfOYOxIK6oXddPqxvzFO+8/NmFVKz1J5NATIOYpRFsY7Dfosb5YKfPJg5/s0iOdnwdHpsaG1aO/KCFWkMPXnetHp3pV4Ru4dFR7wOJZhMy2ayTxw1Ae3A/+jVf4NDbupJjdaaTp1rsh0NCr+wHYKm0yW7pk6lZWPeOPZIeChgcvx7Wj9WNjyyvkcivTEw0iJOhE0XW+41+mlM5+uBJ+Mza1Qu63HDSG4SRVooCy2MaU0lnQXfyjdtCGpiDtHZt8sBxI/EQpbIvzM8rxwpq7OGxDrfKqkU37Efz2oAxQAGF/Ghsgmt4O1iHdvTM9NzAgl+R9LlOxutBW92ZaJpLXb10Y0l1yUtz3oXr1ft26TTq29dhSf8Q/u3IdykTulvDXlU0l9Xi/viFa5XzNlp3pSSI+L9I4+FQ8NVivudYtoj8LSb8FpAsJjEz9JlyT5AZa9G6Z+bDG+IvvnhsVTdCNTMFBT8OcNKk5f/14t666+gwPhg3WhmbMAaYlDrjSrGUcUdUD78vFZ+ol4HMt1OoMvzf+oj1G33eY3uIXV65iwzJ4KZg7/CZsXU2/PNbk3lX98oXxYAChQ51Du4YdO1aYW4718XRyhCuFTDZwzDQXBmdyLTPdAF9k68bFttX3vaHcPDSTjTRNfWqsfcfuGeR/fjJPYV2jf3xWkRQem2w5fJFSLr6igYNa2aBG4lk3Xe8aWNelTFhIC+HPJcYh3b0FfdWA5sNs6Zj6p3W4j6lCVH3t5g4UK5wkG6CLxu9dmmUQKDtFcg2P1nEGRL4WWq4Gc4k/4nYUKlccwOblKQGQqC21UJyYWX9vHs5xqcdJ195NmZydvKTJSB9WrAX8oEnjq2624oyH3GMpaggYf3pImkAnpNdQqRn6WP2cQm9tPjgYW/k7fzUTM/lwmq+/qkr/Dooy2Bwp0NZb/b9peLYBIggpe+ZMTqg33fM+wKO3NJpYMzDUDt+I3mKuY4WXWV8fpYmHonGdtHz1wX424Ruefe6FrGDIl4KGK01/qGwkXKbTJRlJJ2y1G6PS5XzIhchV+TY0630sEFCuVcQwRp/3RuBJ7Tek1/h+NPSFJZ860ce2918N28C1IJLG26HlcMEkYtGMVqicj/LNIqf6/Dra6CPl6OYDmuzUL3AXaGAtsVaduNV+fdwXgaRbGMDCrUcyiG/xQ2FZHK4/5GPffeWjLkQocffwY5fFqYMx4g8a62dXk8SO9ibIDlfuHPJpEFGuW3mXUbTVy7G/CThRtDqS6awt4ktjGZ+k0m69vFF76C0uXF/V7w2TYamx882EwEo+nLGi5SlQoMRg4iV6AnGAvIa3ctIW7Xmknpl1lV9MjTcZz5f00MQhJ2g1G7EBkJVfPBlnoGsLFG4gvp4tYCFsvu2ApWegrf6BFaZalx/kS0zm508FerA2xNaHo+6q0TgL1Ghkl+Bhffr3E1VF+pPuA395wb3kx/lzQFJczaVHeDi9ZD3Lu3TmQwTGy+KZgiwFw9hv6O63oLbBBb8aUiIscySfhhgDfI3kKJfcoMuvYiQHAOhT7souqzLTbnNro6L/dOFQiBvSZZFXQn1F0R4ZDMVP0H7SG3hkv8da1BC65mpEOdGHnsqd77NoQInM5p4oc/Iubog4NQEssOc58UjhfwOhVx1zo0VrwHmqemkslDJ6Rez0wNvTUlhB1euQWCKSofiJ7yMvA+eNeEiUKcOBQrMZpK5RFGnxwXviqyYowHAYmW7wu9sYz87BsUmCPoWWUkjF8Z80mFwknCP+Tx8ZaM5vVeaRc8E2p/qqt5ZadjxWLU5WniGO50MaJiXitr/fg46qNUBX45QJHFZYYCm6T/HwJRiBbQ3z926TyvPNk4ttFJouWrw5kwR3TgMYsZ3rgSA3It94lY11HYwmxhsG78kQ8lwkyvMEmEev+16Utk4VFn91ihq5zBSWFNVHmtTwPKLwDR/ztX/wI62J21OwErQ1a9pvDTM/TwRVufmtUjXWLwgIwf7m3q5X18x73QkSXZmKAfGbhvD/nHUr4zLllQ5SKTGpeoe/R2Qb+qj0Hcibdj/F+bCA8X1wQ68pmRMDUUKgHhMv53cL1C1fNnkwHcl6/0NoFSJt+aeM7dAHvf8U3qk06tgzNXZ1im5oI15kDkHHqqcbgYg4YFo7sBTYzbxgpw12bKqcEpqReNOuo7k6jH7fL7mgwqrOYW85cjbRNG0tCddg9o/+e9t4fbA5c4I4O4C68uBCvMfItA6ZafRwWMmNpx+RcL3WK8n6jWhsYEZgmpr5gb0f7uxhZTUu6tE9Fno1bHfMgKjfLhvlxgKvsWhjiuomVH+XLw9sy8vfm63TcUx+Jc8aYtqg0pv7J18A4NOq9M2c8278voSlxAmWpD6MXD5FzIksX31zFhlq+WqgfaHNFE35MgwcKjRG135I8okS3PYf24tXvHDhNRk2pdjey/D8uL1NMy3AnYqPQX4QyU49rFB2BHT9vxb6WrFUZTxirhZnAX1h0tb20F0vjLzQtc+R04IgSqPKRHnXrQYhSr+B0fFBWwkHZm4SLTiHgnhImXwphvvdpEzBRBO004X5y8KaVYsz8wzyzYcO3rpjhPn1CcxzcGF//gTmRe4kXK2xKaCYe4JyduvnNBNvm9oTtwAZj1xdUkITWPs3Qkpmjw/fHWMX64T9onIJl/B86rIb5G3028D49ENrCUmvZ1YP7OcU24h+AJ+uzCe+rfJ31vwyM1NxVqzQRZrRJqY3sFu3JqA4iOr2daG24JdKtj6QqJiMbiZw358usfzvGwHcvBkreWFni1GEYSvW0oiWC00UHu7sjtFY3O0Uu+lXF/VTjIbAjm/87V/Ca2yDcN7UK8Vj++JUOoOA+EjkX7H5fmC0w84c4n6zihCjLzKdZF30oT/MXQWu6soqAzZGHZvdHYFjfGWoNJEp0vtVMEptN4o9WR97bZDNKXAaMQs6jel/Wk5B//SHqqyHNAdFqNLJP5y+o3OSwJEqhFC6udqxnA1fxrvKFAYhUWzyAaDnz3al600h3Yn2j8mjgCPiOZV7SpUk3w4W/zj8YfQNzLEpBuiRh3x3JZQDjtpVQUP0VIVAo1j/205Q/v4CqRMPPOMXO3CZPmXXo3nZljCSPZGLhGLeq5uBsFTMtiUTYC+E05/14vAvDWn224rT9c4TqbyjRqaqcKTe9duMGv68YImbuYmhzJN0s9Te9u0tF7zWukQpyRqy7hqmdgMmdValj8G18/xf6Lyay7nLGeDEPrU/9PVOjOvC8cfV5WZGxHi1ZrFze51tz1QaGuWTUTebrLT3Me930bYpK0hFUxqe0/jXebtxtj+e43IIedE+XQ5UCn8U7k5w7HboPZ7IXU+89tuRR3c9CPc7+2e+S0BI0wO/tnGCdqJnEpgOQZPt/K+M9mpT83tsCcMmAMIGijnZyW2d+x1d921jEL5vwKo1tkx5W48e6TH1rFVpyCw6GNVf0v76vbhrkaEq8w6v3EE2iaGynSFiDsGFyYHIK5X4F3MlCK80moYidFUqYmOJKk4Uvm14NV+6J+A1jHdS28vvSwSLSIGFyxjIRcsRIU1mM6dE2Sf21697lF1l5DRu0sKKBuPGTKu/73i5A7jEEz1So3JCDNaXJ7HO9CaxOSZSERdX+/dwxkTPVBDRYQIC9wfzhlemKV0nxynDNVUBeH/YmdsnN0DPknKOq0wkb+95ACCKWA2Zq+9dqf0MLAMrWESE2fHgX73WJ0sPSGzxDYw0MiB7TBxefVdhPIyugJjouLeBAxfg2KNaQ0Bix+RW7I+9/8VvKZ0PWSwegD3jNfFbWWjLp58ny4k0B3hzFA1csExhO5WkIBQmz5yqofBaqJfH3XyaNfseiTbdCQvVHzLnhPX28jNGJjehHwFaHdtMylDtR9GRm+67zeEFoVK9ebhbxFwpRFHLL2jxEKcFwbLZI9iwE6cJUTTg+3cBpQZDDqgn+iIJZob+E/zicirMhk/D7poQTXf+k45j3qu+HcE69cGfAgexZc/QrJRUywAHEBdoXfst5QdaPxwC5nSpQxolyNGLplSB5tTMbCzRNfzojIX1pTfvEx9CpUxO60PofgM7EiA1pxJEvh0hind8x3mMn88Gi9Wkq/jmZgyctcJO9FX8EObhBFJzDv3GwzH0i20OZSBMGOjkPDNmZgyOXcozx6OQROuIyQoTjdOJvYgwVFXyi0M7x1UupMP5aocEeAKn8YgVlclmBlu6DTtnaiMtBWRn19mj1/vJ7Mk/jrXRvzhyLdB5V/V4loi6p92YMhbiage2W0csjZedYQ3Mr/EPwSylW87pDObjqPoJQJdkD/azpsA8T1+f02CZX43PZp6m32Qv+P/pmKQNl1rdYHIt8NrZ+umytgjkFZvNr2Dl2E3wm/C1/3PEebzb87KpbcQg5EZPxYbP8ZnwtYIf9iVI+MuW823zsdlVqD9TUxBdmnL55PIe+zLtsvbikawBi7OpbZM9GgK1zAG1vqrg/9XEtS0bDsY89YRuCLQ/w4X6XlPAf8Qnk+d3X53SzM5O/fXFLa7FhZESbvxmy3XabBAVgJdiTjmjQYIBeIaV2bDolbuifSNWV2iMLPaIr2oBV6QE/ZVdv0Ougo20BdMm7EEBr7Vr8HplBAWXnw6uzHQYx7gOgPHZAf+SJrNYMyB2VkRIdy4RUh4FtMPP6WY9MfB1quHM8XMsTVwmJzielEHpgDGQCt0x2Vj3xvY4Rm0Y3gJqWloFyTLktADtOFN2KdWDt0mNGHwE01HW6SkaWm9YjYSkZ/PXSVdi3ndC0g2QyACW7vV+YtyberVhg0CwKOect3RL8z7BDiIiii0rOPzwU5KTv6R4p2Ndzy0z18FSS6CswVliYIJUiO8y2BZcRGAB18OSxwRtwpj8JXzCh8yFe5blAMQWqObizFS8cXsSlvwYE06ZfZtsMbGq3Dx1kArGBU3kkMFVhwnN6aJe83B2R5uwlLaXs05/eoyM4EIdoMjl14h6DH5Th1aCNe47LWDHcfAshwBamqF5LR2iu9tYiZQ3NQzOG1LSl7VcXRBynGjdj35u62Gwoxyy0HBNxGdpqRgcFAC1zGT0yxydJzcYfpUuetL8siqhdnW3QoxaadtlgBNwNYb1hAPLQRZYjTshONtl6C/hvAyMZnHARDVRijeO4sAZdNxaoWAC8BfKyYdHaRZQLmTMgGNq9wfiV3x72ur/nn3oIAg1sx34fL+rtgvONemf6iTJ8SRyItBPEIgYf/D5Ya8s5aSeA2mSP+cdgZorfekKXO0GLl7tUvtmsdA3IzQFkS3qrQu30jW5auxwwo6nMLZuL+cHWw4s0W+89EYyffuIzZyq6XqXdCOjHxquqtnCAXRgfRnK2/GXx4BAmI5fwkl6K31eleBrTKnyPkdPvtiXgHc710viwq8tzjuDdDU0XNSVNludHrt0JMNOwSuB12l4+XFkPCKIwAOrjHlfkyMcSG1edyantc1n+72cTudhXfE2eLsEfau2JLA447Bs3dCodb6LXbui3+Bl67aZnRUyZ3yt7T5PapDAEoutjFy0iGTeMPoPj+25lksMBz6wN6B7aA5ove1ZXd0LCiFuGuX8oPKfaIE4iuo3romUFpSlWpWsxsnVgOp4nJh/xI1vNQOk7sfrcEM4havSzxTddS5BDl23oxbyYuwXhvlWrz0IHIgPKFQZpGqv7O45UHhGBpb+137m6SidHJVcTR3n+C9vOkRTvK0ENYvNBhZOJaFBSprrWaf2VY/8l07osRi5oqmekhj8ZfR141+TLdVXAhVWUaCAzJdTc4f+z+nA14q2fLLqNQ4mhu4Lx/+clYNEjg2MtdIWqdj0f5ZtbkYcK+4jBllduL9plCgNCehwLtOpzxdbzqLsZtc4ilIfVe/+f8qQ1VisOUT+yj+K6cph4nT3y0w99LZtPUqKzQQ66r8jIP18Ok3pkLBRAf0uu0ZaD/PYirbCBmalrCca+EM+oLLl6nYmtbMy8YqyoTAL/cxZKuy5fFMysvOvcV3pf1Onh/BdqTvK+mauQYgNnX7b548h48OcD0g9h/TjyRw3+e9MXlnYSwzoDwiD6jp1saQlkTIzBJTKf8sXQxMnYwe5IGQblGAxhceFOSbuAlFXZKuKIky/SsABVAfVfVJo0VgRjgHKuW1E53qtx0xKDYMNmyCkVbTsYgnvewRZ6JoCT2dcGfe3rRyh3peqCgaTongmqnD7cNLcpJxzbG5ILspFkL6hrqCJ2VSXFHKKzQHGxveFxdF6c9c7xIVUlop40M27lojtLTB0lvdO4o/LjiC4kfjt9DM76MlxSQrvK4pH42TlpmscF0QiZB65ZsmIgAWDLGstKTadYSdxPc2UAWfOT0+Lxlnt1+dbUCkZ4WXpBlVwtzPC+PYwMlVPsERFidRDQYFLem0M0Rg4p0HgDfNZAKslcrrqD1WGsdYmXEY4KaTGLCe2MdUYBe3ZbqaHXpBv4bnJ3Gv5wJDB7pV/c+UBm50vjhYWglkQcbY2W+5SfBo+oaDkcAtAwsGaW082Pd+RW6xdo7/s1uBpkNlAW+plyDiERddJM1T3FJvMesxnnvFUSAbRZVwa4+QXZpF02umPW2j9JXkQEq0Hwb5BZKNyehcD1UoB1sabTz7LSjOx/9zjehvBjcFUYaKmKKYhPN5kbrC4Z6NdOuu8e6EUCsCvj7gkgJ8mdxWbFOI6BK3qZeSB0GfQD43utLA1+gS85o29qajVpIT076t9KS7kfbSulcaOdXt5XsVOdozL7nMq8ZvWMlc8D467D37Q0BE5X+CrghoH02Pwxv7rvqkQ4Af735bLVbN5/qYoyupieh4/BAlK3wkjBKkRSepdNnsiZ9u87qq4zQrMDEZvNJ40mKQEOB06ys5IGWeTEOoGYrzlav0rD+qqTLP421V0/SjJjhlnKH3FCj5+Byq8zgXlExf6ZPat9AijvwXnGAeFdNYlsw0fUaO9ZK5TBk51y2urVic/WW8q83WHtisSAYUnq59h1lf7qwph4mdK50OgNV5xmI3z89RS4BBXnms6S6jt/B0Zj+LGM3l8C4avQf81KI62QdYWOnlHwTeFDkYh9beNhW6Gdo72oQq6KiEqtZOH/2LoV171x+fRy6Nioe7m6QIYxX5ra+BN/GtDVaKf5IvppxtLZaR+AOiyTC5jDaEEegfoDbPvb7UiPJtmKIdg2vuObmx4oplNocxvkMEdjXfTQt6fSKMx/oueulx8Qex41gsulDDjj9fJLU9/DclvYwGy0pGGvrciGm8blFXfIEZ9fzxkRAEPBCAn6s4gzdPnssm36gbUKwB8Va67orG59jNi195VpHqaYlUSQ68PygcKJPF4dX8RBwMHy01Ed2AjolBVaOkBawZNkzpRTT3unmq5CU+nojovxsDeFt4NvwY/YUa0iu9jBIBPg9/z9BDjWwhBW5h+S9/dsEs266eutpwICW1sYENi5NewYL3AtAd+GKKixKbE2Fl9/4nVRUOps/QJ7c/DnPtLwvRWstkhKbEnlK5bnLCwxp4LOMPTRBGohcg2cIj4oGbarLtAOYe6JUzEPut2NFU+YTaCtmRzkKsl6Uy/Ncpy8XlIbWsQ9pMFe3iJ3LEhmjCTGiRpu1HSh94wtNYTSHRBLlveIiPilUJwSOT4+w8Q5O7xFTF/4Lpyv1Rhx+1ZVg9YS6QO6yF1umj0TncoJ3qJLtc952OIn9KWuh7RZSV0/3Y0VGoKKzE0Snk/lY/6Z5nlPbtMJAe65rfHYG+whCPQNl2K6ebDfk0HhSUWGnL1/h/MbicNbR0hCcU/eih9GH/hi9e0z4dwxD6dFW1fqvdTK147WOqHYlpUH0X3FBa4xg5vQFPOu3gr5KataE6M9oOecxKezlKALwbvU0wbNEm+Y1vEvfz3NdkI3RCvUjvKyCl+5Kbt+hMWOa653gK2Ls7yxtudgMVHDeu4JqRvieLPLuB42TxCUK9D3OUDK5a6SGLmdABsB0hxaG3B8FalK6+175fTOsEms+9Po1zCIvz5k7zdn23PIeu8E5icUd7oMndqtBWG6Dl9Bw1rpbmMnj0DcVfzcKt6/jOA+GGz/nMmkw6GIuUQx60L698IMMjIZKQhiQAo+jnDEzatAIltEYDOzWFECohbw9GEEUKcD5azi3D5YEZbvfJXSFOMEPDND6PMs6r1/RyRFykpjVYua3AL79qyQjUyFA0r2WtC7E5L6JYzozlndWVcpPmMNPXIVckYQqaB/g5s6WUL4eqPyHJlfS0GB2AfcDKRLrx1kPablvYGWqgStWahybgSjyhvIRRtjWSdPeY0I3T74dOgr5/3GxxiBRvOMTMYfaKGNrUwt5o+w3socVImRT9VC9f0mxNcx9kJhmXkR4IBDw2cnV4pbV6CnU8DXyzJnRwcUYr8i7neXECqY4YAu0uQ9+yJ1ie6y8scNDJ8YaxPfMMi9hvVi/UcjTRFD+YO7YCxFcOTN+JDA2l02Q1c+0AJK8TzHrnjWKUawNKNUG662WAMChg+jPF+pqLDSj0YYpEdZVubEWaeDC3CMZ8W61VhLI9cFwnxuMcEUY3ZT19Z1yqV4tXVj+oz16JZanRZKqguruoy9g7SCtXZLkUjlHiBkhZGpQwrLjD1rEWMheOKzUiUKOC2sVm4e4KX9Wi1rDadLNmbOqjAZcy+XdkPhvzbyQNARh7H5LW/YGCCkn6pV2/s6OAK2TiXt6zw9AFchgI8GCwryZ7lEAH4uLUWKUnZKi5dUy61wMZ9/OwGwBFpg5VrXtP1m5PNtFf4qE0Txk2h2p8AOWb7LW2tW+wNsbuZxZ+iwB+SI0KIcIwb2A1RGDQl8usttiXHRkV95PuY9SP6NRgUMwt3K3hQGYESDwonQ5FoY/19cGxsmRdz2MRIpH6bS2GZp71ZBDNaZ/dOAoCZpYd9Dl3uO97tAFHF9QEn5v2ZLNlbMNlFoWpYHSB5MECGwT7v5M/9+Pr5RWX9uvlnwWSCM4ZZXUe72vM8fLIesZb3OltgB+FDZ1/l8QYF5oGmQQavf5wBRafdN74OsFmMTMBdiK6u3VO0QRYpSlKZKrn9zTyNi6kvYVUHTM8JGBwVx7xBG7beJtcI/FTxrHmpo2YJYEym3SNFcm/aTsho+Ot1Zb1bQfs3lgLGyQiz/cM9G9e5/PJ7R/RWsy1sazgLRj4cioMPbeSWjX/Pqx7TmlsBZTTCWtAsR8IPGuMmye43wpF4ZnA+8icXReplIkBa1+eiP7x5MLREFPt5VCyHrMQAs8gq8KZY75unWwc0sjKut9aPdjzLuluv4Y0QoVuSC/Z8bzh+T5zkfdbcWxKb9/pEZMnww7ldTRGKRywsILn2dBAP9OUNY23T2U3sylUZdWtXugRoc8lMXy4GZVrnA4uAN0YvX4XgMd0GFbR5JGSQJ6LODEj5uWuJduZQyJDK/QrGncdevzxVR3/2vz9bBlHWBlKWCNUlAAhMFaugfFxcactPSoQEbpxYbqendNytzqcte7lYEpJmh3iei95XEqxVoZjKAnO9JAikQjApNQoTa/o6xordEGBNlzwb7TboBZUhxPlUcupG6y3FCUD2LTMj8HLRNOPp07X3RMkFBvgaaYkN1n+2/ViidPNVOOFWeLnbxeVXjIeTAo+M4dFH5mf3ojPs6dfaMJc8EP1KMyyqPATwuA2Fay4BjAhs5hYkWtWR6fXYaqIxUA2w4tOJ2DJh+/iy2Z5Ar19powL6GnM9v1p2ksTR1ax+IG42A3LymFFYOpok9zSekJvxjiELyAPBkphX7B8PagTwR2ZJu6B7Tq+UXrgChaSSyV5QnYiKFpjF/RT8rHOg7Llzo+eOS6IMfdFlReDmKlAswyM1Yy04TvJH4SeR+goDwOvV7k5+nW3KwjKBKliinM3PHq2tNCll+J6f+JF2d7XAGA38Ci9rzWC5gc2ZA0jKzS2PtWhBljbRC91EpzaueNVAwxcZOXs05Yfb0b3E8T+Z0UoG1BcsJhtDnYJkJvjgVXd0cqLFp2yw4I1PUPr2UHALDY7xUV8BRhtNov9SQJkjUoRPfX2r2VuP84pOJKBVAGfnE4S3uTYaT+bDXWc29kQjSeX9Q3MYkKlnWyEZkzH3fl80Uj6n2dwU8GrAuOaHoj+91Bbr9QYLX9JbiIQdEGVbn/58SBwC/oD3+zQjp/DUJeDIy/HOeboKIOh/MOtpE7VZrhEyEkkWE7YzUbbwignOi9eAGb6niy8mODrfIFwsgtxqPAQAZVegj0rEFsriaI4H7ZjiYWFuGbahTGlXMHloIYTQg8E6QoWOl5bIHvgL+1k+M2eBlojb8GRYHCzGURfLQAp3RkhG2vbzrcSzRyQQDYV+B7qsqX8+a7M8aLm1sf6gBpdS2KDc5E4tZtQOqvK0w5q539sRE9JhlNDUg+EJDbkFrANOylOVHkrsc3BwNJymQQq2sGG5gvWvK84rPUetUtlEgI2esRUCy/Q4aaDog6gQ7xhGrHQYLgr53b1kwJ1m6a4+qNWu+JBB0yhteoFzAsvZ2TRVxZaBNreDP0j6s8z0lR/qux9mVV8TH/J+lIyWAGjs8b9wXLbljZp7Rj1lUBRbf5LphXwq7vNHfIUTvknZ5+SmdLnohBSnIEQVADtfsiQVmcIPq2dGtGzIZjqXXkplAhuX/7lDrFyRN8uzZLF7oV2wVMGvCvfuYKNIW24K6ptjIdQSj126ALPSHjSitRMfguEQk6SDemwwlQANlARxTaqtE+5tSQrsGZdFC6io/O6s+OkISaQJtl5zfdM97kPKJhenbanZaS8BPcB8e/xrMGqLc/oz30M1qDO7ag+umUStBh+dFChNHI9FxFdc1twREFEZAsiC4sqg0lKZyD7vgXvSkq5s9QoxkuIk3oit58DoukX6PoGVdOfm8+dhiFTLVd1n+2JtNsXX1nL8Q8McMxnFgPPUq2b+w0pq+eF7BdfRH/GiGhX3FoZg3xX+3epz65CorvPu2Y+3bVCeO3OQ5EXV1zzDdUoDQPOsOKuijYmeW4nyXeYf6LS1vEHTFiSxPivYL+eeUmoP9AqXHSSLhJNQJV1v7C+kxvP3xCcDFY3QS5AIh/+5klSxyJ9XNZHJ/outbX41MnqyrbNrxRrptrlKr//av22trIQ5JACL7HuIaFTzbQxDtoeK2hCzidztnNFKU2AzXbyZ0xYEqGDghLXWAsFOcc6N5mQOk8NZ3bEHlK2mWbiCyp3yW22qHylPf2qc/997CeDHldy4iye8JEJBdNCmZQ5/0D7udvNYBbxOjrWciAw7uKhlXOEW8Xb1OXllJbZ+QXl7KkQ12i923rYNsj6fmRceZu+Itlb6yPxHcYPBO4Q8lyeijk+r88uklWPzI2wbAQ5AUpDZLV/V24ruvEKfE5SW2Kh1Stf4OdwcOf2U6vBb9GF2j3KnE9cFl2nmZu9OtFe6zFh9VkgFG1+FdFtK8w5oN/htbTYIueezaK+YlnxkeqJFD0jherTcukU9X+kaxVN8Fkc3PmFYujy+tRljPhRPgKYfPGtV1VlyFaabKJhvIHIXmDEH+SMUSXwpI/cJj1Cn430HaNn7sBW0p6AbVgKvwKFJUEwufPIcOGWr8j4QT9KKb2kOHS/HGMXpkmFzE5Y6kO9X/oMYDoZwkVk6yJH3vcueIQEpHQtcRaS3HpwnGVljqtOCCbDaolBMbFJ9rAHytWr+N9T/U0e5xfJMdHB84IiMacmWvGnGZH2kbgfGVEeWcy0aN6adfo0Q2cqUQBNwpX+pGgBaV9SG5JNUEkJGwGn0rqBXMpZORW73OB8kkiODEhXuHWY/ZLNGvPi9D0mThZRGv7ZsM53DXlYoHCQxZvyYzgvjMxOlau5NIoXH1AmP4r2/YZWyJm1Ktnpiy3sAHLd8zxMPanWhA/BG7OS39+Ix/Nlos4aaCeOVBXWkxK2My0UOSdEHrM8WTtqIPofhBFgeGjah0jrHyhBNPrAOctTgCKLJR9+hIqbO5boZ3EdTHBlCj7SkAXPRuhMvLh64FTpwukA5BPV/CHtbq/Uo2IvycpHEQQmZ2ibo1AmmbB0d6HqpTRIZl4TILY3aLtuQFxZy4Hhn59FqlxlWHVN6N4SHEuf3BOVohBYqtUjlXQWVegtU8pYTKDOGVzPPvlR9Y+YEjqyzEMinHu2SHiW6yMU9N2RrOkQtL1RntVjOC2sCXAg9Kae9deaCBuSZgtebKdxWTK048x83pSMO9UdS4F2A3NwrPwnDewVFbzNu3eqIWx1o04T3ZMerVFL2NhrYUqdPVgVJAeKLGP2F/FRDkoXCnXq6Udq6qR3QVPiu32mXd7iVj2ZFnY0jeqsq5XJ5V5RbJAY5EnsgNg54YPkBl9IorXn55K/3FObEx0IZXqVKdyNSWhig8ucxv739T7ZeJIOFGOvCVJI0zMeLxbEMXcWO2wypTT1owHhAZDGOdy/ZLnl0CWYTiR2Kbl9WTnchddPWOn92xxC4FaQDVVYBu9UVobneo8X6jkXNW9wasARYAwpSD7jnRHNf23MOw1va2n5ddO50SnKFjMtjGukszsngD/zEyCkciBjQwfMfg30WZkWZxt83mZUweXHYAcxgq4AOaTwUlXBwL9D93OgqkMxYx25R7xaw0Wiw4QqP31TEZfaGvGq6ULTc1P7zo3kLOB2aacvc6dcZo0pU2KSnDpfppxT94kA7Wr9w6HKnbNtGmE/KEs21Mxi6J68OiRnwv2PBXXZ2rC/tMc5sxQxysxTPVDxJZATJLcUsGOhQcElXOVXXKMunmiVq7rmRwxqRf0+jmq0mdNQbElDb7Kwxfl9oL6pNmlrg2bcp7seneSVxMivShyICbmkC34SfMF2XVcETWmqqOimCqHrB/yFYxn2QyrusnQJUee6oAWh05C1iBavWoNtVdjt++4+ltrwbfKlqLxr67DCtzs9ud4YoeU+SgrNRrbA8+xLkmNxnXPXAKf8MxHC+w6YgLiknAQcFmj/gWwFD7Z7U/mdp/8W4kkQALvaEfhDfIRm03TUI95Ezt12jmnCHGUEcSCKyP6VZyY1rXn5YNlbSup31AVzSe7rHXFKTSsuhxGk6RT8CA8vomXaidVEcKUSuLLuZL0odkqPJS/57WmiiQqY4mjiLceu1RkNWTmGSATdHIpONzjCGE4AemgQMw4jCm7VytylqRmmlNX375PX7TY3ITyj6Z4UD3pX1GUetiV/AV2E8YTVa9fPKfQ1vkbs3U/GEUHOwKVMFGCAIC1VV6FZ17rUpeGo46D/tkjwLhK3S39bJAmZ9KuP+6721PqPOsEXv2IiBvC3tvXMwAEey/a+mtxM/6sAaeb6gkDM+Yi5Dv5Tv7NHClxH5YLM23pluxYq99/fzwI/ZXTiH0UWfGg6++8tDO7hcUNF+f2K2fm62K6Uk7E1Z+Nm6U2nj+sKkJVvkd0JHR5MlfxpkstimNfFv56mn9mX+0uBCOoexVK8WQmUsoGI56LEFfvDuxQZSrddKzaY8qYjem++dOxOBNCTE+BRo27iEZgxDjHjpSSildgHZVXs40DuFdZVrm8G947r1I1IpVeUwFyk2joPVwPnYa+yTciAZdoN/xBH5+xSj0TUvmO0qSCv0nzgCysz6UUtazfFNh8wZ424ylKxR8ABQmn3ZmC0vcgV6fH+5NFTTGBRVsV1erJh3F9eZGBu822HzsxIc3vVBivxnJ0Hp07fjIswlGK8sa7lhjJJ0u3G16dP2Z/mlbLB1IVT51XGUFp7PYUsSVynSFAnx/D9mBzmWO3RCPBOIwaCgoCW4rs4f0rYMW8ExlsPFsYDdYBnpvzkjqDrzTvbZ+Jyg3zPFyOLI3F11VsYoLlvxkEpiBjCTm5z8XSPC0FIulPkyG47EHnpPfZF7SnTw/ezTYvaxZAE9oWF9jFW1BGY7EHfCkafxr61HigFZhcCKss76WogbP5XkUtAjUGvIB5cfzIBacV4q+7+o2KWMqYYKf++6ZDn1kk76CAo67/XN2jMth00nUFInxlLgU6HmY8LC69tbLo6XWMyc0B6cqIvu6xMXrC3hZGSlJmSzse2S+xYoiFb3wTbXoLaxzlE7x/yzpK33EB92vFpb8vueg6KukwhCp+aOnKiilKWIAe16F/MBW0Rknv2voCqW1JhTF/Nr1US2+BtJ9tiYE7lKfiegFZ3HwK2JZz2Yr8PPLwxqlOMT6he1HQk6P32pBQIc57F8w4YfOq8hwqim4QA9kFKh8/0qIHbXeqHSVfW8xPJWIuQ1qJ+9soP3D+EAS8maMK4fpsHa+sjyASaUHxQQUQVVQuTb1noDUgJlSLrqR9FyyUV137iRYwaBx2M13Xp47oFMh2mshLp7I41bCFulLOAu6K7TXq+/aW5hBVZCmlrOUbI/Laj9qccTXCKMLdaoJt3L/+Fs1AAdREdDbATQp7TtmTVr9KlXYNLtKFYvxahY3cLQk0dDcBZXEs1Pd8UAmxijwJuX5HjxpHDPHJIj0IM9BTc9fYJOqERYZ5jSmkom5mlNHXmatqC/ZzgE0D2qKaHtJjAZtUtxEdayb2SUM93Wa9cL1oVs4andYegTd2LIuq+Gyfam2LJxIanfOmQlYHnC4MKBlzHLwRlerPkN4OzjmxHN4cGK0nD4T2+YV88EErx1P78s8VThOxWbNXZFvcEn/aKg0JbuGhA3qLMzxsetkBQtVxAwO5IpX7XPjPkqY3V50hMwcAFa2vGVDiOb1Dnuwu73Q7xMw7TkuXbAxpssjEX/QmzuobvVCOv0clbGr2jddjeWJSvZCLOWpRdT7A0jV1fRbjDwj2h9Po2yFgmCzBPbiIokjUJC6E1igClrGzc6yMFVFySJOLKdJyLNQF6JxhYLAmryWu+7E4UrNIe20g1g9apsiBjeblbigP+gGMDa1KxInKE3J/5fuYlzAll7D93nI154yfIeBHHSIVzmG3qvUTNKac4nGB4HDtWpr03RZlfO46Ow2nj2ZCqUw2ej7V423JEzbWEnGdtiJHAj9E3Avenr4c8O+Hliju14iJsluJjo7ir8SMDmQAX1tbkOk9EUjD4esDq3K0HjUszDPZDzUNnGeQ+qBXcf5h0JhD+HrrGlDPezP2UbZ2+QOZZbW/qdnlUcDUXvEWJ72mikcbOvum2GdPZWeuZtqkn/u27Y8+be0XOPvBG6+tYpeEy5LMSkmA6ss79HW4drhd2A6zTmnN1mOj1uyVdGeAkQUBIWtzBpIYhzp96k3B5aOvAX8HZPYJZ6rq8GmCnAa4caAMh8TrsJY4ZTAjepenj6wby8ExS+6YzCw9sDKKzpcZD7hhiceiDj5KMyu22OYgmMWe7rl49qJ9CH4ToLI7+EqOu3TODoLkU6qdXwO1cxIKmu4r9nt3AXOztclIMqXG4x/VIGw56y1SZbUskC4P1wqxcwlNwOBWhJHSoj95tdyhYdXOrfqKGcRHASS8YLi/t6fTDmHYJP0Em8k3tEiD536i/S2YWakpKCRhvO2PKGlYiLFlFdqHBuncHit3YUMGv8j8d9mOUp45Pp1KCt8fBCvt6QZSOjYzL2aD16RlOTQP9iPTjjptGEwy2dsM5D7bES4RV8jilFoIcWuk7+E0NRAh0kcV/+ZpwUV4zFZDdEuZtXAEfutC0d/CMewGu7hS44btlz/3v44+S1is75aRv0akLMDGbEu1WhCJ9Y8g4/A/TVm0qMYLZq6Z1pBw7UVJW68jshPyjPulJyqq+dR1BsaRI3r4fcMbUyU/8f6FKmVJP0e4y7KJNgkyQEUozDGUmysMiMZl5m89OYXbZ0sv0+62nPvHvbr12ibDrKOHtJjuXYGfgnJO85PS1LItoVIsE5AlqwRBvesm54q7r9vKNLk1VoSrLAH+LliukYbh/OL5Dz0bYvoHm/WPpAhCzOzkB6f/CpyjJ626/ib2WrJoWByuNrpciyx44lVfzUtFn5twfiqAl8en/smJQQyqNqlITKhh8cVVlLZM0GEYzOa1Ouo3I45RV8AaGY9p5vmjb7k0bXDGaoathocB9rchDacJzoBH6j1N1bjWFFcdVAAiOSTrdZKfGNWppYMLZOi5XI9THAVH2LDSD//+Uw6xAqc8f4U7p4KDnhrGw1WzsDH15RZErbHf1k34d6Pz4hQN9M3VS73J1ymZY6/O/CEGvEIgoXuOqg6GYuKBM8hfc5uU4INmnYGH8pmR1orSAl7BDLXlBsYRG4EOdFMfqZHfAu9sVBTIaqt5kduuh8k+xA17qDZ/oAkMjUnHXEkcjl7tuzDaCnMH08KI2r/N8gZQEYb5m8Z5R3+M/C62dS1580RrVE7VZzTofVLHIIR+1zZpJtp/SpnotHehZYlopOLKec+f7/PvWPauEuXbZAbfBJuRouw9C6e0KpS8EOoq78FV5N1Vro3UiNVWBJX0eVzjvgWLxGnePsPIsewHoDT12y7oSUWy1G76w9gkRif2hzGSHjTpSUDnUXCBID9FW7qBZ25GzVPhibsgm59ZdyZ0jS1qqsVtKFghepng8tSTa6BxWaCR9jZbG+h/0/ZaNQO4AUNF/PpRcqwiPFsdK73H/aVdQpE6y5rvwQal4FoOoK9U5lmgQ9XDX27WOwJJoXA/kJ2bXBhQop13qvnW7Q92Tw/bGpvxL74BabfBD9UD3Y09oY4UkWZDWRLh9lqMnPc6jyW9WkSpEcj8lqBbY0XMBt7+aadNy0Ok9YIdzhfvO7ZXqSUjzHRlTAjkM73D/uxFvyDThP0kXs3YSBwA027QvXW9mDxxA/ur+5PpXh7oCU3MnuUO92UqFs3wq+KpruFVPTpiYAeJZZ9Vkh5oQcBccNTMAFJm/SjZOTcwhSoq1xofci06N6gsBPBPjIMeeLAOKvhlbVoCo2L11dyjEpXrdAgpSS40Bj+bOZeb/urXbvIF3xNZdF96cAP+qJz+MjwwzJjYm2uYCb9sH+73ypGlz0VOm5JHYV8/UbkjfK7jz0VXiK0/dYT9OcshfEpBVFdkLgjTmAmn+2TXKE9Ms2XQ5tdmoA6+nxvqg8g47FwPLvUdzkaTva77Vb7Uvsf1K2OHyV4VKFvd5TnjCcIo19Y5EPtttYE3g854h0mGjy+pisKAVqJi08rDVrwhumq34jGfFagAzJh07hro3/HimBAhtnXn+SG4ZlvI5arfv8ynofiUtjUxrCIynsKBhYcGCqbG3+6yB72lNW3tMexcBM3lpE/6blV/1+PDqfBeuP2O3nuyC2HrfKKalRBZMRratFxm74Q3sJyfc7zbISt7ltienDYfUKvmxgo4e/Q5zMpX16PxEG22RXcsD89738vkf7NFBasKZQ55vbyoYd6Aw8CH/aSW6cABeZ12BM+zjKCaQfLovljdT7GEy9R8mrSn/RcXxlUAcLMFcVeO2NfyMQGV8u71B+93SAW/7RCJIXHc79R9gzYPEESlDHwij1fASVnm1B/BMyFdhZbYrBu8CO99RaITBV2+9KoFKp1zhLzCZnnpv3qguP8Ex2lZfqZPXMlAw9Krg4MM6sWyXBup0ogf/+/GeyL8liTX6X6bGXsp4YS1i/Op50RtGOicoN57cNmwgZC3MuxwSJGLxWKRGwiyFQaI8GuZPAoHgnQ4PKPkTqwbqG+mlX01I746Lhs8MAoIdmeUUapYWLD/kLfZUMs4M4hBsPiOx/oSpZ+8l/UJEPpsRzafLdpULpeMZgVqUZjPb2dAlClvU46BS9Gt01IJkMNZ6Wjcps7hIpkGlW2w9OQiY8Bz+6/NNFyAPPmpeXAHMRoQ1k7Hl1vuROYjkXxTM8SESMngF3kMbex+ieIP5QJFNzOI7IH1z5eYeH7GW8ZIhOZmYnOYYjvX6xEcClqP5XVVBH9epcdrDCFLJC4fJguaJwzzjCQHe2oe/dz7GwpPpBcmq0WoO19LgOt54fEWM4tOqHq/DNVguWcQ7gDEsswIWjvMOJAi/CMch2bp/8L+pEB48l1uaqrlpsE6fjOUOrWCOdTF846W/UpJT8xYy4J+aR4xgxnkuZBq9Dqn1chthUr6mMMn9USCOp+A4Fpkes5unJALV9ZlZw/Ag0z/n5xuPR4QKNRhkF2nBPC/kXrPlhroVUw70KB7kfHqwlMkwTyQC+RWn7CODCFhr0+byd9HqOv8mdRIw5JVWNot0S6tilNrDx6eRVGr4SPkOTwt4orDCB8J1sFyxYZ42GfBCD/Yv9p52L2lqR9GFW/1tb3lQPGBgkRqzyRNoBoznMIhXsgJyucV7RHgIM6EsCMWDY+LOQDB63HfQquuGy3ivAxTcQEVR+ncmndQFzzbxefO6XdgTYiHxm0QELclr71EI9LElTFyvRhzFWa066217sZaKerM1ra3U7mkJyYFbxId+iPIFWm1QBGI3uk5rp8g8clVqdFXXOdyPqT1uoDnD4TvoJphaRwKqfrl2MMJ7TZDdfCxSUCdrjEBCnvDybT4WfJd9CteyR9jb6B0aJU7889ZZ4OtHOE1wSm7WN8VDhEhBhMPP/F++5p6P2pSl/JqWxeE6yrtVMEpayHtBlUzQyP6WBZIXEEAUxziKAYCwx9xmNkzoR1GKw3TU7JU1EV+IGreh2Jk2SYlCAUZhTFWy4CEN1oaLdtP5JLVPLDhlZWgDOg1/NvmBzQmsdUelg/dNIlVXbGCWzouylZaibgJP4lcrYgozIwGFuFUK38DmWcaI6IeyN8+y1MZcP1i1659iKh9dyfv1mxRk6zy6E2flavqaflSyAXHVLiOjF7h8HRafvDdYIJ77A/5F138tPIGD5JTRPDjjL2bssVqzTpd59+ykBfPR9Yvm1vj7D+41OK3L6jnOh7paDcW77Y57nTUwVeEtoA7FcJtbjNm7ViGr9A8Zfqnf3yGCf22wrqqP8tH6gV5lKBPuNekFjpbi4abM8psknWeyPECp754IYTSjYdVYxj75fsS45L93Qvp5JkamQEOQsj61jcZrdh0noXhHlpxsyg0iJyuYEVcM8gNUhumDXO42QN04LJ0dAPZQm9HRbgts3t2D8w4nlGROvTx0ifgaGEqSlKAfVHqiBFkQZQ67HLWnB0rXc21r2X4rujeOfZiE8CRCsmXqHzPg55GnKz9Ut6YF99SN24GykI7/1tX+5ztW28KD8dTOXCGMwb+sL5Pk0WOwH348VSaSdzf8ZJsC9pHNXNrtJtkrbZVbftvG2kTjjEhDItnGeX8W3Nj3+lhmDs1+jR879gemN2iBR4hx02uEjl6Z7hol6BAYqPA+E8pAzUP+X1xRZN5mp8HG8EYtiUBBRLFldmbSaD4nDxAhlC9lv0iXY3oCPX5kRG2kjjLOt2qYwItpLJ9s8LC6P2loorHx8fRUCsYU4chuVdrTTJSJ5tjo4tHIMTWFtZeCUZsfuYofBBX/8ThYb5/lAMO1bAKwBzaHssi/cNAtGFEaUmyl9KYnfJM0L+g4wM+kty1U1mvouSPQNtkcm5kz2poLFN+A5MKnwXJA6LC+V9nKALiU3GayQFX700YlusstGWUveyIsPHf7M8GRq7YGq0f7bOg3+AkE+IC+I7ptGNn1rh3TUo7cLnaw8VyqRlqhRhmirqkFZ+TbDgpfRddmtJ+52aBEqGwZIyGjws5Y44ndrSFz/ckzs6jidiy8ArhkrETefrA2E40HCCHyAVsejswIoFm2Iq7mepHIdBy8oVbIzK8Be8bLGkW5g1T8cAOW5v25Qg2cbBtUZc1V/uOeUVxgsoFproJQz+enWIyn13KdF0+QK1/c8NDB7+6uyXN3X6UbZJkgLMCwBvzjE98r4M1/e+xrEsSAklxROFX9nTpweFKw8qgeUgKv0urBi+w+T/9JwCXleu3b2XD77LQH1v6EbkcH+tObHt1mJL2dg3sK85OS+XNQdGJu0ePP3GMYjL7OG3eCTXqrfXpdVz3LEBXdimK84U14wS2OPZed9jL7bBd+S49ZDoCvOMaYWvjFnfHoDt8x4Krdnn82haevKOCUWUz98/ICCt+gGoCFUTUZS4ndTZFy1OLzhOll/8EiI0QOqHP9oef5Mvd+Zmg1CicSFJ74KcvTV86XIzad2Wy1ZSCUPM+y2zTtevM5gEiGCjsZhj/7CO9sg9aWwrjNdrl4RdGjinTi+7j97W3ZeBV8y6RGllnobfI5xwA1SXDzr98qNMgDsfkC1ozQWWQ7LbM0h26KvClIO7REVAcPapslGG0xtyoD1Ewu3tK5ThztpD0K/isNs8pLD/BrHalqr8tjNRJmGO8elZNoiWMtp32cVTSk4y0sqK1Kwr8tn8cupxAnChrUt5bdOeZnb8wkBcSsa/PfeWROXDu9cEbhGlnJr0NDDPpj3GXPg05LRgsWHyYy4lvnhbZhpDjuwvXDG/NJzPck9ZBvu9eE+BewcLAM0JfJJ3QbVz9uiF85LEzkQ9qSvaKUvOUsXKt8WJGDRZ0AJ5wqczKEVL2wBvXnNTPtOLw/HVPgcb3ENJXYfBNF/O4wP42VG2N5WVLWfBOBFx8/T3n1zjodIZVV+ssxtiNGDEn6MaKESgz4ZEpmuB5fvOEldW6t8yzRweoNrI7HYjmZeaKvFRdsfQ3jm1UFYaFoUF5z47quc0Ja2jRVQ6AZzKXyb1v9vy/PTE/zI8q77i2cLXeYNa1KyGPqASRQRWqzxKq6AbnboYrrtM07YppVMAS4d1KUqdSPvdK9YFKmcPs89FvO8Eba2uxwGPX8tEdD8b65SOmiONZzuavP7ErAiNg/zLnLUzZ/YYQsWMbC86XSSHbSwKFqZb8tFx/7/TYKQ1fwBOAEpZnH1qcaLk3DlbJ+u5qg6tf9hVYW0raKTIcLhkCqyFlf4DCmQAh8CFBHQ1+FKQ2j/lmFdKLKzZRVuTi+Za1RZdYC1kD9vSYYY0UtZpsjMBRq/ClOWeICxwPO4oKA5sdi+L3m6tieUg3zcIhUClqf71z2fXMz+grmDanoyfzFxz3aO5lLamEvYTNVmprKRb4WuPBLXK9WAeeQLIPt6FIS4tA/zaKGnVf7/k3FmLnDSCrYCl0eYoNFJ4KxIuKxnqS1pXPMV/5TIBPHnNiian+Hk4QLhiLd527LAZu9LDOefR5NRYBjY2d3rBpeSRpXi9TeiZVUoei9eI+u9SMc6PNrJJ7/jrD8CSXd+lG9xGgCv9oaVeJBTkcvnud1gZAsfjPq9ZyfVqvcuDNKAoMTH8Lxo80+Q04ioZTuJW8grAHs8Slnnk6zMW2J7MchZrA+BBUTtEhHRPNAkmCOhzP+wkpssPyWIMW/mjoat7244fSpe97Vmk5rTgzsELx9Bl78cIXsd23kP4GOl1FYCOShGvwoWQ7vcLFT8NqmPC5oA7Z+L2fbKRiSxIyufTIqsSotYv1zi2Gnh0JLLNyIzXwYiLrXcc1y5Mgk6rDA5rldENPhdNTt4MglVYHtTCc2Fzc97YhaGdH4+bP9KYJNDU62QALkf527SbSK41TkL+grsTyYY+MucLiQm/hpyvlgi5qX4DCGmpRDka75tJ9zZSUEVbKmexEuNTU+jefIZWHDhD7hSGqmBA7RTzGLYVCJ4RaQluleESu8ak10Mp/bRdxxXGg08Ub+ieb5qz59HXYXTche57OmNwfpsZnk5ThTz6ai8Kh8lynnNT/+v2a9QHnx6R0Et7SchoEgkjNUl0001wYY1D9a6+YlqwrmpguQ5OOVkKu7/On/ogLydXRORThd/BpomHTNKUWTYx1nk9lgDC/WoPtSiskCKr/YCGVMs3z1zd1rgquRr7/1Gah/q+XS4Qj9uwMKHe13eoddAS55SfsxJFOpe629/sKoMtD93QeEu5q7h30c80WF65P/c+ROTkfbPztxgqCGRuOYe+fHKpUOcJSBGlxup1OO9IUusyBbnugZKPhak9FqAemyGVOcqzw9sK1mXdhOLcASLesSN8M5ZxXYSAZq9rcsa2uj4stg8jvMfnitBAqppz3//4jVuhfUlVQwpeXq8gBkBEF0chnZiWEv6dv7HQO67bSQR1W9kDk0obB9lq3yZqRtEMOjQ7SGPAPBU/xfIcyzkgfXA13becaVFNWPXZ3jrurZ96qOyHqPciFRmCh9rXlnXCULKYMr7bI2A1kU88s4GWLDJM6XmPUo/XSJhcI+iDX6hEXs/le1WbSXPHXJeJjTxPQHpAxzXjaZtyPZLh149/Dh1YHG1clu1d24G5Y0biTTJbYb5bfpaBok7QYLo5dayfSZzce5y375ko+D6Pac+kpWWnA3/oB91+42Bp3lngGDUDHNCPOevwr2qTZOOOG9BCIMnItDXcjs2IGOZ2UCw95owwE/nK0wENQ7LPW1KUWPMZSHpAJBST5bebnmJKEQkZcCasz2mz9wOGFzK9fp5Uurm2EAyH1/oliyCwPqqrNh44g6BeVWgFLjN53UQuRCKhaxoe7NuSXMrM4Gq15zfhnkcY4a/dvpFZinei9M+AB/EZZ9HQVQq9MkEipd6J8TwftZZlFYL1rnPE5R279j8J1xIMsU90PSZFeR4QADRRtr3ogScwhf6Sy1tsK56KJSxNGkfsIqw8JObairptNkWy5G5PeLjqUxCqpwoqDVO94rX6oKh3bpMQc3S3KKuRHciED/gbfaYrtddLutKN83zr1c/P24gQSnEw4TMtfPBaYgghcyDv0HgCvnmTA62wEXr8EWY+uAWzrArBJJOKhpxXa0sLJZEnXGkYpO+6mvu+1llzQdmi0RmynQgemuG7cST2Rws1ONVuFD6GPbJ43hi0bB3EPPHFVcqhgJ+eYKBL0X07Crsn4mUjj8dmlxcihCKToFMs8pljKq/qXu3oYYvnm7DSnaCGv1Ea3d5trZqRJnk/dlTkhqN+Gd3twjri/cCqJN7qh5shtDycOPsdEUaUWPZEb/D+UHAmS/VlXWshD/WREiloOUDPwh3H7Pf3lU0rpjkQUsNxszyshU3PMYrzLiEdGnxF6JZ5Ws5f3YwIvmKwmiwNjNksXeq74OwXAOTkRR1nUEidJc7wohYrokj8Od8DvgaBfm9911tKv6GlLSgN/bF3UtKRT0g/PxNbHCB1PWrVgKsR4WvM7hmAaF5fBbu6ekKtcAcb2BzGRD1ci0Wt/UQRzp77ILGDL9M5PS42mcQUzThwvG81cKP6H0/5bv/u5UhbAJeXCdRob0G6gtesuvA8MuYHx91j6AC3AbibGRov9zHzWOuPrglG267lpqsDdzrlswbWv0gX3vnlhM3CwILXEh+tXoAaR9gHgn47AJVBHj7ZxYzILrcjfVq+cBu2zmQcF7igQYQKAVVoBwBv0Zi4V37hoYemiR/FrRP4FXsS8YDBVFNDXwfNmWSvmKp57vdXi2iqchRBn+k3+92ShQWdH0Wz/B8yMIUTDRN8FC4cOsH9ScBSK0zpBf4r/hcnQwTrrgNjOa9JCo6CXSVPQOUXN2HlF5d/63zZ4csyBQVAQ6dFiHTxwH5hGwRhU9aY4tXPXdNCfaiM7UaFkcdHSZPZqX4Ogx0wN6Fa9d3wmAMK4XQmIRpx9x8mGBsel4/s4w4w7NLk0g8sXSHS6XgL7x5MnKG50dtPzceAD6NguFIzasz4GtGJtWuLZMegwcyjJH+a7fYfccCJu1MP7zlLjRafpTJ4hQbpa4IpMazu+ddhFMF/xraEG6s1mQbLfdkvO/KMiI9GuUukuA+abWfKXA8Fi7o2+881O4aq+yPtAx4vhbEdifmWWOC4OIas5f0Zn4jUroguV5UB/9OWULTwLcArMQd9rlAG1q5hJx2s6g8FraWu0t4tWb2bncOyLxSgQ9qKbmGU8F3DGERwYqaLY+Zi6yibsoQyNnz+qXGF/X610JLpah2kD4p9Ru8O5kacniYj22btMi2hX5Y7WQpNVvtRCo7gIA7YontzVREN2W5YfoIneox2xX9vuI0rm0QtqvRtabL6CsmZrN5Q/hsE1CMBX5Hsr7t+Ic8D1upejVV7Qr74y9tsPouH1yp1iEHx52aS3JdQzVdrV84fZNwAIbqzj1wjii+HhT2EtZZnIUjtcv35+JdSQBoELbdm23LvRqrR/t78y0ebYAdbVmeD/DtHA44ekD2sGv8X9Sfm8i36aidlD41WKhPJa0FUNQWITWbc7FtYwXQSZor7ampBAPPqoi1pV6PUu/O8/Gduv9ma4N2qRbc2qP/uitbz0FSCyetyhqSk31YaARVcAUuoUhI9sKyqqeS6n7BNNoi0djyqerxI+JIRcCx7uZN2vGdZIb88A0DdglLCt2rUvF67fMj2+6U7yruQHVBhOGnUga+GfCYj/CYeWG9W/JBAF+cHZ0WRjNTv6qlGzad9UZ/P9D5eyw03zbbofbYhsllkRj87AS0v64QPWtxjiqv1Gp2I8Wtfotc+/Wmayw1pOExl/jeB1x4FqH5sYxfxrhXLvfONBszRUTlxKZGkrBbZ6elYWAEHsOeXgO/rCrsyqJgeDtPvooas0fix2JdT6z94JRDhYWlXkzjDeB7OUouJmmVbUi/1HRIYJutqcEs6q49b5Tkx7nZOzTaziaRh67lJUrHf98G46AbJjQw6D67rXD3CcUoBw1VPw7jftXO4tUVQsCBWOgWmagc30vyC4uPCpA8f38rumVN715AoJr6RJgS1+N6wyyaH/+ic15hxhgYJHaanFlWIGxgzfEkKPIkJK1XyHtNWuqBpOFKtHn6wRAoUE/hA9Y4W+8/ik+mgqkOGDQfd8RLetEKWD8ujSRhq5nNNyPKmv4cwHS7hZbBn90wiPmx0NJqzetucjyIGxsznIe+x4bkWof7uJ5lYjsvOr+zg0ybT77dPpC1O5e05MuZ2pzmp+XRsCkPEIpMpdFm7+eb878kWRCXO12roqIgRm0mr16TjQz/oUimcGGDuI+PBXQEEdAVLw1Xwzj6HKgHDHkr6Eow0TlbG48F1vt37S63WQtNGfLZuJ6cNQoBOIIBmUZz14GFPCMGGhAxOxYeclknEOjnAV4dea2mQTHmIY4Bd4kdPG27NDBWBEW5Wq/LKhOlo7mDosL5umboiqqHHskjbMeSrhwlUp67NRfcKItnYZJ8mlwADF7+V2Z6lgTPl0Pi2Ee6k5318XRvZAO/Jg0CQsbgksOuZEumppXGeCJqzHV2b4VlO8cUbXiSCuIqzEcEhT4/1SrbTwBpJWu1c6yCzhI1WvdI+WFICSUEVkXp132eKrSV1pVzGWKZFggGJvjfhjxpJ/PyCnM6eEqMg8e1HCddXVOO8gyN/nKC3kl+eekYw5+LEF1K6YhJw6CGfAUvReMK1hMXG+KpsRRNEWx6SQffSHmHTf5ziqmmuY/HLqALqakfk825CHBwjZhPta4NXTx/sMlbXBnHqJHpRfiN96zeX5UdzHYSXx2Y6nxU/WgbT2NAY178asc6eofQBVdgIITVI1zb2/91b4eBpjf+772ChTSMOVVkJ/fwTWOr5xBJXBKuyT5Z7icvuBYlgjeMK6jjtytug3x+LEzzT+CkUxh9Md9rHIg93HDrhhEKz4zQ2qQ4Wrk/sxADGDyyZ5/4jvf1J5z1hOk3L+PpXr0T1iYXypGiqZ913XnwfIbKguRMEFyshrO1O/TALu+HG2rIPKwYLSa8kKOzkWO9v82G1zGwOGd0wC7XG/htSoC2Te1TnQ03eqPvXzxTxsrb0Jg251pNkf+6/87nrYA2kUrR5dPzJ3XoIBCaLTVT0w/IyNo5RayGm0yYxoBTQcoK9e5ofE+RASQLLq1VOQJbxqTHBZvGH1uPSFycGuJVa009ALqfDFxtpHn17w2RFEalZ07yBbS/tVi/uIoYjJ9JdhXFrrB6ZhUNpRaO56Jl0DQpIOzGE9ahoDElL2BwIM4VIgdb+swYSqqaVJlwAlinepQ3vyBDjK6DZtgaZRwxvRaqzH1H4QzxHMjcjkjJnQwMqyGq0HDqwU+11J/nRDYH59S6urjK/MI3kj3bgtGi5XPloJbL13yXgX0zvko0cYDzTy64kiGWEn+tNJg+9Mi0W9TonYpRdXjPoUYcYq4SwRmeU9/9dUW9yw+rXnr6vVmgTWfWme2HJ/3M5xse7yjvz2nlUF8BNuR84bGbnwmeHD/zGAaSQ/6TavJVlRo237Sfrgf9LfZoDT1+BMB1eCzCPjIka49UVx3lBwmHDEio6iMX9APZMnHd+oqHqJCsLlBMpXiwRfRp9oaFVSo3fmXTTWAmhxSqRf02oCYnpPqyyPIVT1Jeoj768jvYRhc1W1FoCzmFDnX5wVEJJS3yMiS0YLqbEEv1incetx5XomZZCKsX+puS5C3hNMF0X4+JdEPJB2qOlV2epdspLDqNHJlwUQ6aHY+n9D4KtXkzVqVlgpd3G+nEmNqWck0Iycs8razzLawpzJw5aIgUFMLJa3vJQ3EGNoTCuQDxdfSMz6BCzaR0mMAgyj64wU85tHp6G0caiNjRPO57w/w5Bnpi6JD5Y1wb49Hno/Ce6JrVmqrVEFk/U5nqxGuR24SCdgVxBAkT37nHF6FBL4IDKb3T/UoIjF9fFbDle4REcws3jdhqyA7aJvJverdZkSB1IJcwmcf+Irxldvfr9bzgfuIQ+HNDODUseOXRiWZdZmm1PuHtgVsi1Nuxf0B6lcVM7kikmV7Z2r8q4kCmndtM1N+zNXpD9hbsPg1MmELIPFJfdbU4hvfPFdgFb86E5whGCb9U/W+Qs7Y++Xz8W3UsIDGw0hpqZR6X6AChnx/lkuTLa/zovYVwpl0AzHMvZ8mpvXR9USoer+Sz7Bf0CQDKgZNO3PQ8uL/npjZaztXRYEnaoq0fKjqy2Kzf2kHwYFxoEXSqEaZPw3bczLx1no1+DuoeHX3gQ/hJbjLKIlllrMgJ6ydYIudmBhNKlsqLbuKvpspfnS3dj7fR4VAkoiYy1aWWyvagwYeBzku2VHa70Osv241Gtwz7rplQji+Vu7+C8FwGVsM5GyOg5cHDcuYbDuBAlPiYBklk1RBluPr0oyA5QqvsBTgYOOrX/ahEza3JKuahwSyL9LLu6QVd9duy3ouR3yxCpcgu5CNV3eKbwCAuqQfglXvvTDRTnf35nOn4v/XAzT1NUX5wytv7UaOcNRU/EshU3BIX9DQ5O5xKL+xwVf0qYSrlHNrL9WuqcrpbHf9KIXihBqT2XccuaX8xve9ztGj+Uy2azt1an92wva88BiIgo8Y71grcsXXlTtMSHWzRXFyfySwnqQ4nznVRvr+Tn6DyhVSrvkKxx3dnqcVw53wf2F7jk2krHfq/OQg0pwgSbrKhbhNXqQbbePl7rAolrw7xx/pFZptAElh90JK49FKVb9vWy8bX5W/taRpYmN2+5ux6KTSKB/wX9dRDY1IrlXaXsYnSOktHUV5T+X9xwzEtcSsaT23sqwwmZzD6P33vojP6giECCmesqtqeqMQHsubLp63jHK9yTPKWiA05MrTiRNI91UL8zqFBh6lhlFWNHol/M1jfblA1pl48OH+kFN1MXlAZWkQ74IiTsFh5Z8b3hRHn7zgzItIG9nDRHmNmpphP1BTxnIW+TRMKMn5v2kOyR0pQO4ibqVelqWbdVsavXXXL99PxkwnGehX1uwAiZZ4J7Fpva4DeXEH4RyujmBLkbQSjSmItG5HGu6D2++B7IJ6Lmc6SHRrzYWROv3DOHnbUz/apV/1FLsOZt9KfmjV4i3FmomVKpVICcNts33IXOcuBonvyNBXaQkzwvAPI9+9N5vrkzgc/m27E9D+68snzcdQp0HsmOJb/4X9S+0qQBcJwy8aXbCAeBiNtTJVNfKFHFTHB56KExGoTyMFapubk0rlBo+xk/qorzLDfVkoKE5yIzYOhOVy27HchDFY39L8egHzn3pi+9a9X5yAgOrIQ7FGWUXzTdRbxt0FkCkSCirSM1Tk7UnH1mZ6uIZlLwU2v7srwcr3RqxtXOZcZs6qHbp11NIcMyL/RPCDxyApBoxQlGxg4hq7L4rRvLA2QWoCi04qaamkMc9v4S/aMxQbsbjFpOFxzZH4NPJSGFhhrYVGHLoxwDjpN7bwIYXDLY/wTVcpyeHm1HGEnFC6MKump3JRN38Xvv78Uxkz9LYkNT7vC+zcTKFVlLUMFXwP5I39PxsLJYgOoeCAPaFiJXmqm9okXKstghF09Cl4OQpwTZhpz4kmmfSLMrZ5+5iARrNhovkjylVk4b2C8SbRmPWZhkTmY1v2vPSPTTW3YTThITeje0oIw7j78R/kNr2m+YJZ59fOmigXmChDCSQjB5oHWDnQdzy2Muie7bdeLFOrwClwNCDEltrG3xzpe2DxhsHaF/8l2RqyJmyvGDNZMv9ZRLL3D38qAnCiSnXoN7k/3pkCSW6/xoHcgEMm9qnsrZ8ECIdQ0+9rKBT9G8niJqMBx6v0AM6dsRyZd5a/E8YaGu39GnWHwSMbRbM38u0bLtSL3WQSJy84n8L/tBxsU+i6LIst66Zo6qhjazcjbzLA4E3+oKYcD8gz20CmTVdJLcn8fffUk+x9wuaP0Z/QBUUdM+O8p+T0WAjP+mS+IowlEJP0I6dTjlTs2DuyWXOmHZxvu5o2bBP5UrGuL+9A4GkxfjZm5yuEFNjfig7ozsM21Z5xojQPYwLVdgsy9Q49WiE5ZpY1sFIbS7yBNvMAw0L3dm0er6xdDgaFOGfXlHOzWu1HieieW+VNfggLyky9/TTpCJvn0ionRHqX7vMWPYnSPRqd6pBJWfqywelI8RtDyxx95I6chbh/65X6vN2CpQPhE4oJ4lW/ddInLPU8Nakm5wXz1ZZ7IKF2VI6h/yH5xikDVyrjShBU6hcKPVkCQzyA8wfJx4aKJjLmj00hQwq8EZjQteejKYxtTON8xugDIB30CRmPL2mCkQvSPeY5F6sP7wZFG/WKemo2sp1UeefMU1CYcfLahJRjzCo1I3Z0O63nihpffHyMA/uUekkaFVU/lIwgg/w2Mo1B7CZGwHayUU66T8kMJkDBlJ9E6I4ME6IF2DyUxXxD517u4+19PiUA3smRCv8mj49Aap3RBMHTEZzwbBaQG1QPy2t+H/DeP0V65yojc7DYDH7Jo2jGWWVxYWgNHC7NjThijbNJGItMwhkADTzOWlb9YYf1L3V4VZa1CemvAoo/SzQP4OqtTYTDyvZK0oyWmkRzcqoBJMP7pw64ElXdKRNDIub5grqiH6Sd1fcNubJ2G9PgGMUYKtilspHSvJfFXodO6S9T6CPTnsuTjqxRciPvHLqF646qHXlUpPuqRrE89ZSjhHQpysBfWdOuitHk0iYCer6b5FLP0njX5FXvlTI+o/TSX7pTe5vquaJCeE8XFkIxrfqitbDq/kel0tqs66o12zV6JaAbYh+thHUu0ftftaz5iA+TGmvfGm7xjm8L6POpNbxmlecW01pGj3oG8ZN0d8qpbfkzVyVnobtWkfNAB/vEDZA60CP05YPRKeuQHhcPHPOhAlKklu6vpibUL5TM0PAWgPN8IJQUqb7eH+vdO5r7f4C0D4UFsgeLVkN1vt5/bVY/7t03LxAitJ64s0CamE8ve6QX+pqu+nPUvMj3TzFgeZnsMnExlA8KcadlqIs0MnLDMmYAZzgFVHZVQq1dkkyQL/iFPZd3gNc28vineAAwiBNeYIh8Ph/DBt6aWMnRawd74V3NiuYk3AQjr5LDHPLo96B3Q0iFO7pMdnrndGhnnXd+oIH1p92AT+isRP8wifKa3cti+Ir7Dr+bd0BT8hdNKI+aKz773fWrPREi2jAjLrwSWkU2/OxPOav7gEXB6oBqTyJNiAvvIEozcAS2AJTF16PMT5nykqXwD0Q8R+H/8QOVDZ4Lqj532n7Cn6nrzyu8eY3CFtJTJugiJWBCjZ3RjJFpGs2c8dyQcZjccFo2qXLKzAGegeeAdHe1nWNeqKUfYyD" title="Mekko Graphics Chart">
            <a:extLst>
              <a:ext uri="{FF2B5EF4-FFF2-40B4-BE49-F238E27FC236}">
                <a16:creationId xmlns:a16="http://schemas.microsoft.com/office/drawing/2014/main" id="{56C8D6EC-590D-4C6C-ADEE-43D81FD7BA0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89642" y="1822882"/>
            <a:ext cx="4819778" cy="4563286"/>
          </a:xfrm>
          <a:prstGeom prst="rect">
            <a:avLst/>
          </a:prstGeom>
          <a:blipFill>
            <a:blip r:embed="rId10">
              <a:lum/>
            </a:blip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XtgGuRH9ya7jtvyZJwCj87dFIsmqSKF0GMvQZZNdOoGQorJFBFM0hk4PA4PedP2a65zugKAgVdqBhTXmdxvzf9qCy9rlkJczyz7jTtrgsxMkP143r+4sjNGLBJlqUjRJ3jtoWoN2pfoURFKKaz3ezx/8WqcrWeSa+nQOqe5ajRvuajtJPCI5gGNkMTqrjqOCjvwyxMsZoGqG2sonJEHxn6itZrR5J3itZv4jeV+sLxCN2ApKJYYn/3YtO6FjXBzc3EVrI6HIqssnMqrPI6LJgKWbiRvxw9TzybkykXW4/uRQwbSbbOmFJAWjHXp+xSRrE1lBpidYkyRYj2Ps2kTC1CBwqid0ono0WYDswoz/SmCNFlTBzaEZ6HZC2PJc3pCQOGRZFSC/KOepc5Lm8m6xaznElvqLxYEgSL2wg1Z1hJFRD/HUm+tuGQufuFpFqNJ0cLGwlzHZwC2k1zZWsDlQXJ2b0znpsbWeHfmhfxkDfTqYPpNwu18pVVlPrsmErPps76tDCUlaYqPem5BlHR+RyltGB6KGWhXV+pR5nRZKJ5qstPAv6w022AqcbAdqHeKWH1TY7kmMjzPecqYhbHZpGtA2AxG/qtv69dQCdw9XHYu9TCpamfp1nGIVd1Y3sjI3uHcJe9DAu7fFULGp5DMKI9SsTYWKYEZoWz4iB+SCW22A8R13GkDddLZt6YgeY9uTrdG1fMReDETMxlPpGqh9S9m/wbKik6C3Nx8Yx0/CP7A4Hi9qyK/4ebKrkETfyPQvVkDo+/k8QJ2so8i4gYL7bWHq0Fr7qHLR0AQIKXu0c+VkBvcrmb8iuvyax/V0zuI8+XInNVYNwoU8uMxsdVS2GE4+P8/q3y1cKYeG3JVqmjwSyvM1UXSQg4xp7UfEb+LQbvyqJBCqgW+aORFs36BTNW/jccIeYCwnUTR+fUM1DagwAQkbnHawjdRJMDsPTKrut569DuChcO+lzYXvg/VIhPa3IfwnoyxBqmPjqSdOdP7yxjEqVffbPPSWfxoLjDia0D6/uu7ZJ0Oeq63/2n6iNhV9iFALcoVw58lhC/oYrUZIFFyoxP6rTekwlfvUEU3mRgX/U0/GL7DGPSTDlziPy78zCseLvFl9IWTEDC++gLzIHHAVUd5PdwjxDsuUwliklfKAkyVdEcl2DUiYfZf/HETP/Hnc8K8CBO7eqHsv3+0/n7gQpG+OHTJ4S3+QogSwON5j2I+HI+cTFMVNBkib946aNWkLMXqUQz1j9VkDWBUYh2RuUspvdShZrFH/EwKxl14sLgQ7IHfqhRYS0m8aYeC0kvUGNrFse03HsY0mKmwxBSISjr3vAZzM1VYkKBFaYD3YeM/1QjNkmqMoHWYsH7wcmSRi/Srz7vJrwXW2pMg4MtnUtY5FyJFbLcstkIKyvHlazPuctuYOxiB8/8ic/6CJoVWFSj2XIu+ZuxebfPCWOyQeRcDwaB2tw1CToGcbY7V/k8wFftriz3MwGBpuWt3CQXS8hCCedgKPp6HQjoueATjQ33HlCdA2guMElh51fpUangxhM7oq5F4DghsROw+1ML8vHCWsNMLokbyTlPkb919V0J/JwM7FuEkIoCuO4ZagcKMtfZ8ERWYjJHhq7BjSFGGWa5uUs4mhoi+5XjSsoeort3N57AhkxRJFeXkoAu7s4zmMNI8VlfY2gklXfuNiMz/Cll2kS0CBOkGGx0An0Hny1F+ghGUvcbX1BaiswE9OmPA/MNVdhypFaoOLd51FcEzw+/FfGEebDOg1TgRJf7lIvoz8ivP/j4+hpVWqQrRzYys+e4BsQ1GxZmBom5AzGwX/4gAG2MGzizx4fggPBPdWbe0AXRU9xOqEZ/TIr672o1XJrq6q6pytrTd0tNeaPHVAz6//DhbELtsBmWKmqregI/h7mAYGWqGRdRKhzb0gzcMi3+VSltiZvbrCsEKT6xsnOV+/4u35mOvqfn1HX4IBNG1+l75Iy9QZSy//wsfPB/I5K5AvxVA/wazpY0iYU50K+or0WpYf6SQf7I4V4XoxBUUwB10CYuaxlP480DUcpUMf0ETJh7ok5Syt0jGpwlHIHhsS9S6Im/II96/10wA7yXtCpA+Ed3xV7O7mJXWhRtLRF4BgsrNdyojRrUbkg0yASZC/gnS9f61wVSM5CAplGwwH7as0n6daGN+zah9QbxYCiX2XwGr5C1HP7WN56O/iKZf0Nj12elb2x1s+WVQpDFUhcT4+NdvMVc5NtirZAybxH9Nz4EFOKJoIYXAiUON/OWywqOuufodHRRapJVvxqjJOkZrxWk+ZcXrCtgfoa5K7P2IZh3y8ROX3vrKnvNODx1onbtEQIVdFr8faBpmelqQw6p2sh/g38s4ezg6QTOgAFE5SC+EXFFQhaehfHcoRDOegJNNAHXl/wDf8/c5XcISzuIgKzmyn0s6J1Sm3HXmJ9dOSKPvw9iFinwq3/nb0+EbIPqd8HsukKtNFL7glJP9TgGKhBAQSl7Uaw7D5nQiQaMciuyqjX8die5R7Zcirl87kITdIZ5FJzd6GfgJbbRfgAJgpG+AxxiYIN4D6ZDFG7yuc9xFEt+KZ6g5e+WspU5Bh2UiiegpLa001USuJpF/6qs3qfD+0ufjKXnGhC/+8W1BWZ3mMi6lO3voY8qmHv6JGIxY7fyNrSFSx5ZsVdeYotSOJSW70Mgtlf8l8ijM/RTcZXfg8ibjiBsIalN2SutW93WG8viob6xo3SFGGzTL+d2lXPFuPwQ02akalYa8iW4crmxPCzsjkIEo0HcEw+hRnxPLeXGzQtSOZrGK1f1l0vgyVEM8YdXrW8RQqKMdxggyyK2TRSCzijgWaOZRL+oVWVUs1OBi21f9loaCFFP4zmmS38YxyipIs1EW9dBmjQKfnDQMWQKi0j0+jQGYrPDvDLtRzhOHhW+JWNbWeOwAQ8l2xfV8vUOs+Ob1z91j17FVvFeDRgzJ1o8dxeNAzHzC5znV3gqMioSR3NFWTJKktrcmsVNQjsHDh2Gg425e0x3Fx6DJrQLMPMWxsFRr8XGOwNB4Mz13OifON0+g8XH/8lOn8jKaTinQaxpcfx1wneuttOpVt0HBvGIF2XHocTuOHtXoDIJRa3X38FfB6d83MIF/RuC2UvlXaK7SrWZNZLlTkbvEBIAzM1X9UnO2UJt/mpZSe8O+bqU4YljvUG+yZGOP+VwVoTIQ5Sq5k1Bs4pfJ5/snL94c85amQGQ55KDXElCCWIioP6zA/W52yRXFvBeWkmH3zCZJKn3jaYN9L1P5yZ8H0pF4FEyE+Vzt26NAzW1JCaV6cPw6ac4VjSEqNY9uJgsUnXrmxP5t6biDFq9lfNTwgYa2j+xRa3ZSW/0HQhkjrrlS8IxHBnS2/ar1X7GXNInlcdcu+Molm+zuvg+pfv0c/ivLFFVMJqmrZr1AjdyFQdGKrvqw0jbJI7qFpCLDYn9untBu8xkK6b93RXKm6lcL4eafWcvStTzyp6byaztTMhbhU/xztk0/dfcG9YJnsTe4Vq7m2ayHS1GKVe9RmTNRAxjVaItCcERcB0pO9XlGvlEtVcQnYCbT1X9V5bitTrrRlh7b1zHLmx4yeigH4HRJYmdXcUzWApaeyMeaaE3Q5EgI80SJLe6iCjbjiZbiDHB4/jxELJadAoJiVZH5DMCc1x0RQLdNq1B2th1ToxwIHhjI/JCQyraLwamTm1mP/CSVkvw02vv+FR/xXd8ydkRxx2oWcEZWSAG83WPPVD32bSRkpjIwM3CnAryYGf69jIrGoIJb9NTgOCpQ+OWpa49dp3Ts4JWD928W2kiYdyn8nIuGfcFcHdDHU+ORiIl4ZvIj5mDW9Tp7iu/uLMqCZeLrWe8oVLkWewvDguwXA/SrUGGAlVS72ru9agoeByIGqhRSD7hmR/KlXyIt6CQGznPAN60rV3IUNh7fOl5A9YaZBncICCCiIXeaB0fFY00yQGEfA++KlWktq1w5Giy00gaXFA191hdKaolnphR35jXCISIBj9kvk0ztDZ7D/ET1Z55BvgwFxF7pqdVoZmKK61F/nPaE+VuCHK0eTGHhbV3Zm18pLDXG7ptJF2Jr810r2CDJKwV3qBtNqB2F+yqfgDiDSYInxJhBt8YF3cj6sg53QDhGNfwKJLSGhnHr3JdglyPbop3FrMySXCOnHWADJO/qC3+HMixPtucnMHZN2dKQ5tvshnJxBaMdFrZwzES5gkYqwk4N/uypqUEqNMgdyKwJK1s+wpT+2rXWuZ59rlNwcvRtXEzbHVRQwScWBM8r/K1ucDhM+LGfm+d1vvNMRRIBfOawimRRO5zIP1KwT/HmmnUed3cSB+DkCxpD1DW1pj/5xzWV0vK8tGCHJkwtSY2Fd4UihXf6F7cTj0fXjwCwYa9r3AxBRfUB8xx5x4wOxIQMAC2MsOsDhvc44ofw9B7VkPbtZy0RPLVe2FSvgjqVUDGc3ta+PUDjuSWkSvAyQw6IZpSSkcj+FSzlJ8SDT9YmyN9fHYMZClC5rJup2uhDTRkyWsC/FT4JkZ06eRUTClkxpaeqom844b6Hp6DORBNoZAzhku/AR+SOYgn0wX9h8ElZ207YY1z92kcOkhfmWPcf/pKHlNwzL6GTXCyMIoVKSArKzrwq1ydw87uaV+Oe+Oy4o7JMd1x01o2oJ2oSEfQFyEQQwRpcWQ5JoN35o4YP2kANR1a5+0g0vNopZYgzOgFQIioc54VYWmFFb5ALZBmofP5oHxRhnRqA2LYpr1jIohhhEqRlf5Xo/rXMCicdIzvFJHpvZQAva5qPnlCkzaVn4dkjduWx5N71vWKG6mpu6S8MWBO8J0KdPqOm9fq7UWO3lYQ8Zmpp8HZSENdzdW+TveIjlZJ5Eb+LTUjTyYLiM5oQgBbh93Zji4PHKdz7DQAjB2LLy7qd+5Sd2e7KhoneEUn+Qh76nteg9cJSxUTIUD87GMPCAIrgPTjtjL9oTBdOJgkevPCpkzXJZmI4djaERqOmVOwHDiXLmINjNjYXfExIZudFx5feIcX9suyWH8yhVR9YUVYDeUGUZrGcF0uW1f9tYwcAO40ppyMZ+XSTbDEwaCuY4HjTZbMCG1UcE/+t8gji9C4OUvLrWqXHwfijXXkxGmurwaM3GcEc/seUF9v8wcQtLtOXqAFVmy3LefhduwEJc7guMEEeCbaDNf8urq0Lk0gJ7VKDcLUPilvcFQIi5ucxasRsrCdz0mG10GNC/7pYJ5LEXXiD0y6r0lucGHTNoIAI6p6tOVJbu26pXkiACMq+r0JjgCMJpxYT9vssw2xcHHTVb6nYrEVxEFzQBWE1JuwM385MQp0QQ+R1gflb1duzxf48XXd+lIHy4wX07EJc17s/7AmT4iMsomSjLd+UDfgITRl2C7DbFerONMcLb0EvT7HTBC50CfF9R9S53sGM2DlnqY4EgqmfL8lP6nibjYvq93UdAvCWFBt8UuZHpaPVUUcnYOF89SKTRUPuxWpXx3PpSP7/F0GGS2KojtYMLD2BuMHb+glDF1ByUz9g+y82H3QplRO9vV6go4OjT9PKfiA+iS799IDYXkPBPFCEUKq1svcrhid+EGjGuccNOCs12vK+F2EJtfjBz6v+25ACS8tGAOlanUjNMB00hSgVyW3ATisF+rtyGpAxaBYaIE6SQA7R8WJl8mb4NF7o7mirtY2ngzA0ECGhk+Qi8HrubizqbK9kNkh1kliyOjDozum0ymLnw+Ogm3f7gobflNU5zh1C9fb96FEuPrwssPE2OZXtr6tuDuL9k6mOpWuLx6CjW0KcPtoeej5hWOOoN5B+HMEjdcYx8KRaNEDi0o8VAhCzZkQ+OWByxsD0jRBqm3eCGaKWs71naW3Tpn2EZqBu5HWz40PFXDIk/AWSRsupvtX/7mAPR9iEzIA1iTI8obn8ty33O8m2CI6/3RK9leYVOFp5SFoh5bxbCebrtdIzRtCvEG3VuB1UPAn1u2sUYOEMAVdM9V/nclGBNdvtQ7b0OUnydTvpt9V3lpKNRPqItd95RRfzRh4FG9ghnb5GA0+lww29vB8dILwI58JHM4oBIa0t2FYuEFqX1Jb1GKMetO5RXHL6TK40cNEnHfIi1shfJJ7gKVWlVRB/kBgbLkracSOjQMSnArCFQQJxjLCrIzocoN0O1LselX7FGrSXeeG/iEBKyOaXa3yGs+MH7sNvV+/cAqmm5aPR4OcBgB9nfFkQ1eeMfJu2FO2Ajr+2eaTds4SNNDijVJ5IMpoumNV4WLerBVNEghqts4wEw7rHzdv/HX0f0VI9OEHuqn2bV6BqNOcjAN2LO/VE1i43ICNTwr/V6ExXgqeMRQ/HCoeGPq0oIfGg+3X6TAa1a6NG/GoLUhAQppzld/jcQA3qLokyd1DC7XILWnknweSnwElz9YfDaEmDCdxYer36gUvKRlLIbQA07CsUAr6ubJNjSWOUKI+Q97QI2VYsmzAvjOfr/uyXoUHvwerSn6+zms8ApAPNPGtxGJa0+nXhC9p0OdpZtAheq4CktFVFcHamPoXPUEn1l0PHDl0yPgIbOqQsEew30VfCFZ0y5IdoQr5/EeL2qNqfaAc9e1wvj8xqWy0FMovkOeyTIpOU13fatk68DxG7IWDXNZSOD4IxtwpF8bpQo4/OqaCxcxLsqtwfb5/fYHa18L0I4b2KvHPx4IFYuZLd4p5mKfaxnfEiiJrFEQSvV3nV2tZqlI/EFDj6jcuLKphFnZMj79yXdTxrMrHgBaoCAtn7bKrWdaefzjo5rdUQ82b2Tc+LHLBqEfJyyOkKqgwdsoxXX7gA5I1IpnruybwwZLab8oWEh4Zaju2N/TeXKcZJUHjf4smTO0D7YKRmz5n3fwI9TrTwjEhUiGFXD6P8OWFFuLv/5mQO+TYXaPlhmnfKpggAjShup5qLZcO70mTaFlkbUhO8JxGe3dgJam/KoVza3L/AB6ZulRFgfxz2QqYkcHt415zwQaTAuwP9kZiaEgHnS9jhZLua+e0AYP4SrtLlwwrAD1qCfujV9dPq8IuimUJVF+8y7q49toCyUXwZXtmYonTBbneFluIHIAUQeB+GYxEZYF8ymqUUHKFpfpzNc2k6VJbaJVWDxg/5XTX8eYF29Av3YS+zPMXKWQ8wK+iEdGmaNyp2ucTgYX5lY9rifDhCFm0HBCKTi2uZFJv8mrnyFNVaz8BTeK6+1vMjaLVO+Xxs6+WhdkNZsNaHn/u0HqsEpYsePQVUbahjaEAvRUtROikwYOQpzuM7Qm5CPkkj6BlvjHpMNlVLILjoDpTHOoGphkPNBh64oH8QdJ+4LVjWwhU/6rClTgl9dMtDgGt2o8Ts5s9NnSVuDCNNUFrvfA7X0JAHkJ6HkQkIBXSQ1/N7mwiFvKrMdJqCbNLrEWxZYQ/tftglAmvqKI5FF5Vqp9WE31BeEd+YoF/aU6ahDX7eNhajCWatyhCoE0Kw6G2kLoXVQ0H/1c0u24GYfD4w0/lZlm12Na/RevZST+l1MkN9OZCDEvUsCcZwFwro5qosj8RHM4A1BC5N3SP3acyrKAk6TLiQmuM5Ez48PdeMEO9u2tDHzqwu66+no9NfWy9dPoboCZDqYrWpPZaFyGM8xa5Fw4wkOhKjjpaH2UK4A1kg3r0cgLeKdKbf/rAl/K4KHKYcZgk/fYyYhOGIRHS5J2FkCmBvUaV2X3fYRTV+sL7cQSJ8HWyhwU3AErfGepfvCsMFxz2Y5GSGzOK/8k5lSmFoMDi60WfsDnn3FZXVR4HpH6WqPIC6oc8BXGLHFGBPlhSvyG2e/PS6FX2TpZ1p432KkYzv7U9nUX27AfCzJmoiw5GTPKgMz9JUr0pst3ZtkoETAZB7WTAOdeAxG7OQA9KJTaB8K96r6S9k64KlQaPzhqsLupbJW7Jp20UozSxfN0OD59BCYAuDOaHjoAF+COUnIrwGF/XobiW+9/GzR1sxEqlDW57pWbD3M5aeQ+RRsFJTqfCyhnhp6uhZdJYg2Ztq/FBv7jtHVIPO+5YS16cDA1JNgy/BdGjp360CWBDLoJJgN2iVAleWtxaMCmFhwV1hd2kpvXXmeaJ58TvWivXuMe9hjd9lldPNR2g0Zl2SdtgC5Tf30OglUt7n48Cwy/lcyyaz/YoVxHJjL0UlsuuiP3BZ1iaA2B4lQYxdxheL0BbbCxGQcKrb3HswW0gesKnv6e8IpNdZW2oDCYde/v+v1aXUcY4Vth0VUrfe3axBv+h6q1xvjihnAN0H8jk0fw4Vtxyv44fO1MObPAffwad6I4IoLflonIG4feXctTMgNgCtUeHZrQH6KDRTgs7+yGJ/lz1dudhayfMJDbERog0NyWXi7mzlWWgXD52eMqnoGCVjQR9+n+8Y9eF6YCNxAzX6GVSIVZ061anF6SScnTyGFXv+MrIciglB0ANu46LC5Sa6LqlF8pOD0mx3EXNTFMTFbVviWZFkPEeF7AaPktxi1Tv4OGVsnilf2eEeRtMnpR1SqW/vX+wPxqNrvWf3HiWZSK3+u5h73HUlTMvUvQvvc0pmoFDCvOCPN4uHNHQlBIns/36NhJjVO7QCxpWGy3WRelnY8FCcHhh24n+93kW1TQolF923NKFBUBJCcqa9LqtMeLjHekQO6BVxY+2ovkRVR1fGChLYMdqyQXgTv8i+fOdU+Ya7RU8JMb7psTOYWsYRmTFoRiD4aWYinQGyCJ2VJX9rhACMaNYerr7q1uZAjVKhtkbFvtPX6Wel8iDnPZDFeHXm9tlZjGBL2lva4MjITphQqdlAeBD6db7ECDlYfRItu7G/0KZwM0zkf4mW/qvegqUDTROeIjurFe6SLbXB1+6/zsHkxaPmD175LqyI3Lc/xji206Ic3bv0niZxgyzDuO/msCcsWbUNFR9llTs+VyZD3ErSPi/iEs8V4HEjie3mUBBOSqhbEOBxjPU9iTo3MlNRESzulx6+mZGRgV7e8LbeNK8ztGAD+9dpP01AFoyZmpxqICgbSogRDvXGLDuhvjvrodcyTQbp6AqYDfE/2FSldag9IbLQ+borNEfZrwuZiJk8jr+ttoCakwphpPAc2OtOOgYud5sCQw/be72dRvGPzsiirps4tkvixmlKJtLU6C8ITYuGtlVMIJEgmTAPuBzp5s12gaVLScy1zdOCahiOywPR5RpzM7dhvylBNtowP5YX/pfHymbocOxgIu7tmNeGwpa2cWXfEAMB1ZfrfG2zY+UMSjnmQ6gr4tgp6Ky/CXBRRAA3sTGFyIeyGxXCoMZQrCSkpg2mpM45QipmMVA5hOcwwGYcYdxUm/lDNw9WrrB1mUW7aC3rBz1dO8WdYyPlMJ3pBuUPRNWPkePW6xUplQTNVWnzueQqCpgiA5TX7ydW31I1raR69BkjgpTT8ryllpXpCf82SwCawMFx9PILznGwo82B1HdKgxfz9e2sgLu8UICfjYUQsHXpOMk7H4lRw/seIdPt/1Wb5ehUKxHZShe6Nj7ryfnjQbVyi4KbbReF7C+bpEujicxb4MmMyvI1lxIk3gZGlWRyNob55l2ZS+x5uWQPyp4LuFGSUXcg10Gq1bUOQkPgihUMpQdrR/izxM+mBT8L/n7bPL8JDxvCuobqIRsTgvABGpGXjIcbDEaU102BbMLkGfPp0s1F8x9IC1jzwAluLyBLZl4+AVwUmEbXUNMG4z94fxmyAPaeyjlCURZmuFxnkHiEhX+Hlc0Mm9AYh+gp1VvonrhkmRsO3TJ6CipSNp9uvjauiZfe3Ei+PmzYJX7tPAWSn6TvfriqJWiaEm0ZSXv2y4m031umlwPGaNFa6yR3PKY9T65NduobZ1arHrxRZsKzft6gw7/qU8rnAeSBPWPCwbQsPSIAc/Z3pigA+cUA+ffBst+DBjZNcW/7H/xt7Gi9QsHFOda99VD13YJ/+XECLZ13NStRoRKYiID8JRiX+t6oclQC2GiAepN316aaRlK2FTv7E/Wg53YrSvrYb9O2kHt2peCYSmz/RiNc9KSWXeT5wBZ59zZIi/BObaXmEz/gtp/P2euPJhpjFmEyBK6F/fjkdZbl/Mw4rrKiF9UVNQ63jCUGhq0qs+9NX8+5IZN+nV/7MVcrOsK4KJzED4vxbo+wV7HU5PPtMla4nfMAqTpX3NqSnN0paJEHnDgUBhx/AtwXqDEeQklFtPiu1/w1Yhgbez8pxpsReVOl9fNoSnaf8Y9QHKpNYP+sU1ZChPn5ZoB0cSV1GiD4lg9hLynmTTwniaW8G2NWEWR49Cn6VfFbyC2MlbQieOnKpsfWHIh2kMZOxzJUl4qBLDl1i0DzqrtMxOCu5q0in+8AeIqv/kqZXL96GLAe6SW68qS7uZwbrXs7UY/py153YI/ge1pvvatO1nkOOqwvjIPQ49I9OAmfa27Jy6sZmmKP6mcKxfam91x7emeD0+g7AJMjwxx0NCluuCbbcBHO6IpwFx/wWcf2L4JHxDDUEI81EJnLk6nqtMvBetFVZE3V55h7/32giM+8TUVYGBYsvJXJuosxO2VxsRU3+dxVLfBkVE0J0rHUHgi5F7B47e37pQUZO04T4m1U52Ox6r3w6UKnf3JefL4GDZlxhME6Ql25pGiSbbF+BU9/C9M8Rs7/AVSnO9m7y7iJ+ib/ptJjbWCXcsB+DmY3fQwtvqehN55uWJX/3OzwBFQloseOcN7kXsp5VtJVq7qV4a7uZoFNhDkD5Kw+zxOvmmQt82V+Vr1H7NVp/2gjC3S0vjjN3gWN6QY+B40QhSb4R6Li8GmAlK+9ITfrV19aLeMuyZxTGBXap73E3m3WXyQwtqLq6r5rHvp6N52o2W1/Yatu8DEKaV747mEnaGygtYqwyoKyrrb5CWFOgdUC3vXKo8T4j4SpZWYAmNgQkO09Pv+WlE5C8ykXHGC2F/TVcnA7DoKoPS9IdidZ4y5m2DHP3y/wqxSR8bxXDwxp9gq1iampiP1ZuLLbydvykNwF906LEQkRClvemUjx106fQbV7Mwxh/ZUu2KeotKV8ttWIAOwYLcboeumfuYVPgHjPOKwfaqIYox5bDvg0c2c475hdfWTzDbHiMZ3u2Zdy7Pmk7fCwSHLb2CG0W3KURD+dmzp12eAfh3mTGDaMCUYii9t5EMkylsjE2WQbxdfM+W2Wk/bzyktE3gY64rYcJL7EFJtkd7IcX3GE2UyvXY4OudlZRoyPY6WPc0huBVHe991ONXwC6pWTgPFnZJ1xYBr0+Be3uIO8GTFjYPfO2Y4mSAC72Cq1XtY/7oU004lCrWf7Abv1Fviqg65AzHEd6qJlwN9Lsj2F6gj17k/e8csA8+9ZLbqKG7lPRYp1WR+/QGp0ngrZ1q7da0sF0I6PGKDjdZJbvhlxm2W+eh7AowpRBU/39blgdl8I7WYAi36bTUe6hq4jbvzHyCzsmwa1N+aOcf85w29u1nts8NQhpzyCK2elOutuQ/L+nVTPnaisiRPrref3dlek+MFuOtkZOhtRhBQ0zrtKjDBwKn16H3p5kEQeY33c/ERzqeQlamGaW9IUWtuB6BWaXw3IGBI67YAXyJt+4xn4D63wwtj0aSZV3fMkXkHQ2c9cKavVGRCd4tdxajr1HK0VsAHpwaVl8TtNioMQyhGsSqiAdiutqdFNX0Hc0KPHManEXXYlKxH0uHSvFCQR9aSFRZZpXBov4scqqNu6qTrroUbTE8FbjPWnqvFq9qAjAAezDQxFMgq1fknmX8i4jUkrjDEX67gyIETRo1lba2A7Ompjg/1R94fP+t/mF4ZklCzTUNESlYhTPq58CYBBK4tFgpYt7Cj5b6tb98UcRLKnMOaJ/a3067nbY9pg1HXvbbp2imws3A+anaAucm5gBWboJqEqYwTt7ZMp5BaPWKCDY7gahSOMwOCtvyXcdR3R4esnr7vanljAfqtkCAM17SzMQDf2OQdqs/RfwPrO3HeUrPEbDJ4rEcLaEvMuIFgs5eUuJ5BjltKHD3KkpdYGEY0zZcAkssKo/9gfdfW598XQ1A/zj1ijmzTuv3uqP7Pwxqx2DMX65MQGYVbljMmS+bLiwF2ZKPYVtw0QDxVu4P/w5zSWQBars74f81wWXkGtwbXCkgKGACN/6HpVdE1FLuChnQutJ2r/LMenMk/AzouYQXEheB8Eoy8oppedhM5LlvA4rj3NwNKh/yka9ZdZdO4fSkRZrE55gXFe3gPtySmP58BxR7oATBULj2gMxdmRknqgMS5BXgYxoIWFjbJSA4WWwZDBXimXhQNODoMblX1z7LaS1QVDQAwRtd91omV+sEGe43jSXkcCr/pSYhc5PYMjCAPa7J3mZRwi001o3FQbJJS4b1LI7QoKJqj9GRjjgDVSrsemCMktIyqJaRTZBUgVtUVYt74bJFtKOQXQ6QVEu9Wb1CsuXDbKa1SPIhFwJNosmG2A1CQr5AHpNV0rcHfSYqfdKCBsLxeMWwPmnHxeD/lCBP0vv8RCMRgWhbKcH1TeQRb2tKmtar8M5GyTRCFC+sMxJ1Xgy4EoLxO7FXXJij39ehNcts6TGiGKu3Rm+Jkr7n6VyRQIBnflUXF4rjMf0GtrIiu+4mjfa5AuAz0zWs97+O1Tz3S/cdrbyEFV/9kfmKi8sKZhrtFAiMuNncCQf5pRlE31HGzSBWISj2LUOH8ioSOGF7q5Usa4vhx3xGZLDtIwij3W1Uoub4AS22iIbuayqRLkipIcd3ZcJsSxAmxZWKdsHpZ2xEGzIVJtuEQlBNJGUMAhR22IvSnjQ0rAN3gyD7c+9HgY/UqJxPIfLEnVoN66/XWvf4yZjzEwOOyDl80L10UmfJMvDhIxhkhgK99rPvo4XL4i+XoKaaqW/gUwLRDVaFFyUtBUTOVL2wBZaLplL0vMTMioyDvHw51E7R+lGSwcWtu84MD9Dsgk8nh0+vVcEeq0BzGd6n6wPOqtUL8EWeIMD4EwYFnXso1XirOyD5es5V2U5E6aLFnIPH/b/mMk6WasjiCIlW4DVLVXK4WEv1rOkI5g42ODSKbxaQWm3Lz/aNoFf7aXJQufJ2QS9VHKy0ArjPd3e+kNZYfUxWno7KG4rvrUJSXR+YR8n3EtHXBB40IuDQ2VoMtCZtbme6nhr+OHvvGgGieBfYLYN4mCLprOZymC7kl2BhIlG/i8rIQ5X41C+reJj7ajWVYM1v8OWJtUknFHq3UA3PpFYX4SmeqhDC7qojPmuUaI5FSaGqeDtpajht40rwyOQDLKVoQ9JjZROT2FplR8yVAJXsJaHf6NdJzGR5QonnjRa5/oU9mBKd0ACQM6Vhdo+z/ldm0wAQDPpQE/xfzBr/WD3Ybu/02h+hFpkHWXdbbW3GwJ4Qdhe4xx8g8u2B2Xunl4e+65cKlLHv9B/REeklBMwNj4NEv8a4Xfr1IOF9xAzobB/8awqLOcAZlovtUoU+Xvn2hmIzSWPywVGbXgu1pwFsfjFyTsFWoTixoGW8FrGRbc5K7il7vBQfUUUbIHxyFqGADBwKUjPtnZe/6rY36L+A7U099KCcxH42u5ZEQsWwRSOcTKC9BUtMxH4lkvHP+/DUCeoKlcW9E4iKH/3ypK3UoFUh6amcpRSFm5T8VBJyGCDSrkuUHGFr1L2VR81V3s4lZHnADPE6t4KdaKpRFfB88K1zvWmG+ts/55i6wCeRAHXai38gp6WlIHeR74hdmfDJqiq36nRlmswQkTFfLPT13J0l/71RFJDBFsqJFaU2hpG7tuWT+FZN2Gipv5fnRMWePqFAgz/EbBlU0fsXo0v6v1dUaOCkNrGcDqP2Hc3Z9CYbN4n3sMBrTYvb3eEKKrcGTHVz0Y5wiM5CzT+5AAWMDCW2OtzE8uMbY2mM5U8nnSJGphb4tU3dIXxxcNKUxa370ZqwvXT0mEjzUeHREA6D8cAN+9dLRmp6ALCRXBTeLObpzPPYtn08kEhWSD6VhD5G8mDGiJxNmaaOs9rMg+suM2M5cIauZzPXZfWupQy2wgque7eV7YRecf2q5ydHBLWkX1W2GAz515ZXAAFqtRXNI9HDkpkDPcyHOw9YwOjiF0wKcgGrE0BA1NhGM+aSDq4QnnO8wI/C4pHrqf334hIIyqLW1VzwUKnVUj6bcSPfOA7b3+3Ezy4hLCuHR5pBK45juHfFxTQ5h/eawmy18vaMACSZSUCrRslQXyuUB2kJo3d0YEbRvdV6FkAituVNiBQaLMrj2+WmymcgFXIWssF0H39XrMDPd2snyy7kHucuLhD9OtHQOFNoYcX6qqNpDgNVy+Q69egXZmxAw5In1Fk3mQBVCDmxcnVCP0g0t6cliryBOwhgIXT//ObQyk18ONM6805alZNBqyh155DnNTRTASeW2jUugnTKNlIYpSV1s/k/z4JTYCxhl4g4Fn3FAVCjx4AhoFfdEkzfHNtSgKYq+Ru59GyiCLceRrFIpB1N+rETScJqDtnJanIui9fl9AZ1LJSBMC2kBOsaEPBilZDJ5Uo+CLNwau+rWnBKt5HoMjtU4HhBZ1Oefp2RjC0FKI3i58JQF3VOEUQv5SqVxGIadgjWgW6E3bC+lnwX2SPSPJi15KgMyqchcO/CI2kO/0wIfV7K/f54vphadIbUxNh6rz05IBeu7vWm8lzAWPIvhU2wlhRj+C/53nQ0yX2Yyq7ScAopE6M9N0BSoraV+4GQbTuEUn7IdTGWsq/q44o7eiNEzZNPR8qG027BSW2njDVhOOg3tvNuVAE2D/XJ0sa24JKx1vrjH/e7Q/7zGQ4P6q8x1y7Oakr6o2/M6xwp29PcRHRgSlv1dgvezX7JQIjzknT24GcCro6gn9KsCDROMOe7O7pEDyRV/Ymc2x6vlQIDzALzdRm44tv2yh1Fd70W+6nNWMfGyk9roprdN0+7K8w2vq4D1FzkAxk7sfvFSy/sIukXADYpKYt8+LBS9y+dDsmiNeMT5NGa2ke/iVeIKEQav0HGdBTa9s6iFWrJiaPK50QnHW5pc+Klwpf/RPhmVGsu9LT/6yMfUV+Nw9T8wg83Xxex11f0zMu0KA61QOiUeol1lk4Kvj2DHr2o5nnUcDOmYVAYDZl++7DX0PRzZ/Zj8ja1xdV9Bzk2T0++cXugI3WfV5smgjl/t0u1Yaw3Vmn8ejiK+kAuR+9guTqjyETb6O7UDesdhYkY+SUfmMJRhzUl4cw3SrFmXfU9UyHowr2uK8JARn/dfqzzpF2sWf4x5REtP5XFXKMBGX5UMEl2IvXH1vFOVWqsy/HNFVKtWrRdX3ENjlua0ZWM9QGQs4jg+TCGDtzaC8fqSD2h4dT0Qw/yjEDFApKDkLXW8oL8DS/NtWQjPexpp+x8rPaI8l/NWCkIk5b7aB1gjR8jK7HCCe+woRtJiFH1UOLQI7oYSdgqufnwla+U7QF/iVMskry4wQ5OyhnbGmSIO36YZhEDo9Zf5IowQnE90QmVdFCK63FxtiF1gMOQjqeZBt+QH1PB9T4BXrdE5U41U/NovG1U6BlLh883j2CjGNwv+GoiA67U0iD33Q6/Ld2gEbsr2E5O6w5kzENraPdQ8cSWg0H4LR1KBXa1FYDfUr/zB0Q8EPqz4o5rNTlvnJwgGABSOMAW3IXIPnqGGYjFv+uqG90eFjDzUxbMBOLZTy2KSBPc3DqRNqiciHIEG7pfNNe6mi0+RqL4hEqGEkfHsDv1lc7CddTVrys7gkHz1/Fz5wGF9FgaQSG6UxquuiRh1j4AA/0s31K/csCR1ty0xhmfglGjJXnj7+ey3VriBR5c4ffz0PFp4Indh2+UrlAmOC6iDqY+EJhiblVCh1QVT9HmMt5XoI9XlAGHAj2iwjccQjXci6wJ8eUOKK4ZEgaPqSJUBQc4f+G6z9hKv+YvnoLAPcT0V6/UtUa09MVGNUdeOLnwP8HEvz19dcmLgMoX8feTXRL/XdkIosaufOnw4vTbkcftPAARmEql13k6DfxfzgMe0i/7szp1NmaCai1sNdmhWsJW27vP4hrQJQZD4PtULBht2Qgj5mg0AJO0ukoKvQF+OxrQg4Untb0odtLRndNlUfKzWUs4kUSENb9ZCCWoqlYLGNDa+7TdignQzl3RCkhrJSAZ9g97zENVCOqQKUpygQbmBOCSyc3ez2+XMTuyCptPmUSa1apC11U3Jwqr/trDPUehotGHUQt8Es8Hh9nODU+nDs0pMHIjZfheO5tySX8as1+7zROxylPU2JGCsrZz2HlqR5F+HUSdM1CQppnRFguf4R/76GLF1E84HF+46WhR01s0RpVJb4MxEb8nluNsDrwFyvm4vOavn/Lsd60LPW3gxi2gjBIRpUg4q71kEOEIUiaEN5dZQbUVv05d6QvYdoteQGR9lnFC2vFnL3aLrMUEEibg6KAOKMQsSNgZ3CSAMbgDGZ/M0bw8OoZhCBpraDQGcQ88d6ZMao2kcwVctNt5jrO7IFnPYwcMMCvzhLK+oU+uTyPcz4XfmQlQQ13SsStsIyJ1zNsuSbW4wdae6cdpEBHyuY+m6I/dtKiSpSQQ5wvLu5tOIGa49+ZrAFflZzv3urbhXT6CQrPVn0bUE49j1V19fyuOVrxmcQHQQB3gdfIHdHy0LiWsFBE+yHDK3AFpB85bGXmpNODZVsRIjOSTRbvAOpi6Mv81TeNZ1NsAYfh4KnFLG1rHcz3vrvADE+rBDym69u2vSs08R0yGV+jLilBiH3EsUyVF/7Qtyd4uYeJTJ+RnH3qpn4jkcK1Sqo1TUksBxolikezZA98tTFVMFdiLRvsAxd23Om1jriUPrLT4lTvDpA3g5tNhLbGC8iVppn2+F3ciJw/b1rSEq5peTyXkE828fhK7TcblcqSiXwuPlk60x7YZeA/0SFbOUlUqqVJm8yNPynU6pCQZalo6YAlwd7UXmbWGZdvsdcLr0NtDl3uvJ/aiQ/8WcYorka0Txk9EOc+1Z6O3mGcX2H/XkgRl2WaoyM6zhmqzTKNz3NbqsQlEZ8HJQhFdKfu2dg4vd5D6BxaY2Dx++uoshECGEkUk9sewzZdeHRTJgyWdsdeZBriPewq93QywZeOTDIVh8XI5pRxZSXVxmR1j3qziQooZa+hCroUAWVmKXT0s2IOfhG+jfceHn/4i63UsSUrEwJ3ZWLyxpgibD0C4LvZRQRn7b/gyt526wfgGjGTsxGcbAIf3LrtmMXEYnj9yFu1cLeI+75Ub5dpFiHIAjHeqj9fXQBTcGirq3l/yOnsgCeETZJcKeRQKBobZroekD7Xdlk+KhPtU2vMTWaguyHiSOkQfZaSbYHBndZm8YJEKd47CsRHdOcOipOHXZRkVD9GGFFvAvbm8iJawGuc8zAoT/eXCPmgAosIgn56lVAKu058N6eZuT3dEdSNN4EJAP4dXSbUYhe8wSfsEHE5pjHyo0yi7TYoBHPbZT0NBbtvkoBtHYwZNWnT2EQ67kmawGeIe8A2UeDYU5DgRkKnR8/LnD9voLEHVndi6qu7nLNymDPVVn/S1PNz6JQTI3Z4aGUCUd6//graBTGcQzlZkN+w+6m5X5zLm26OzyOjFjoO0TufTbE610VbhMtCPSL6HY+7uveyhjTUAxERBTGPUjWLJ0K2SOzlnFOXzF1upNgClqWxTTN9ZwAxX9gFXv4N1HUI4TZqKCySnv6pQxv9HyRBJh6MOTmoC4bSaA22UmQR5ki0pD8/TvqxT4DEBb/qLSQDVwheOwTzsnI21v5eCbwiy3+E9FdfQI83poQGgdOkqUHR/VeEjd60rmGA+B2CoJHBPoC0/6i0LKsJrek60YaxrJuZhiGytWEE6JgGSqKlVXu4c6w8gzM0wKorKFTHO0M26OfLAo+H8YE7todRrxcAW2P7aEKzGuykT/mcaJd6g4eHrnJjxCetRcVtbRsj74NBzwfclS0tQf50vs4LTqnw9XbYaIhqcj37tCrffHKiAMr/Njq/1WgZyMeYYCv0eW1zaWQtTyNcq6S6Wt3tOfVtvl67xhesjulI7u97b/8YImukrn7OvKC3nTOlRpP6PNVZdYuzchbCcS1IHoaTe7FHvqjey8qZQttKDc174qvmQNNCvtXmpgFyZ02Ab8Ctwa8YhJn7I7QPcSlSE/esJKM493eGlG0hE7mfT4upuxWB7pxPdqwp4Q9zyHbVKxYnQWEK7KsCmPgJMZGgIQ7Gmt3mIHMSYneoFP+VoBUJVaUKwroVtkuZhbSqH5CqNJiTlblgK+szcs39x8dv2g+XjN23C2anVytyjwUcH27uY2KveOUNUxyPP2bHT/KSAOCR7Je4j+6v/ehfoM3zkaJVdCgjA5hz7GNRA4n1zBqYvI2Jp5N1OMNCTYNNDyh6Orz68LO+cJ/UYUYDvhvX32BULvtpLjUgj2/oEK3s5odeZ6x3n+a2aj8Cvwgf48t2O9NcEESUOKABYwIEL3XbiW4woimC7PYZ/RlanXmDqDQ2SNj6GqEKXAYMrTKNcpb2QsdMkNfb8cpp7Kn72BxRmQEgxwBsTOkkkke543jyfPGeO+zq3Lzk4UO5+SkJ0VAEccewTJ9ixpUgPu+qnSHfiU4wfGdNT8QoH5A6Z847pFGiBiKPZjIw11bXGNNzl2WbExbGoOxri9a02SL0u/i0VRwxKZDGoo517feU7X804xn/tAQZb8IuspIEdV9Mw6FSpseKyJKrEHasb3YwKm4crC76L4si3W6+14YUHSiPFtOVVIzk7LU1KDv2o4LO17ER5OQqYlveXR1wa1UKViWH2a/QjfDyN+LudiCNSP8Aiz2yx+p1L1bJUjC2rdX+OQgOcX9bFAvRUUhFES6KKkfMa9kWOIUu9yNXm7SMLfvwL/cgGsAs7eLmiKdDwYbIDCZSqw12dCTxIZaLas1noWCbmHMKzLBI0Nb4pVIqD0iVZM5z9uz7cy8csNIBe1Xn3W35Dgi8XPlJMnJE1Tgve9Y9cWO++yBJfstQwCU4CJUaRqYPHqWeTP+JKpiFEgo7rap15dW6Z2Z2HITqPqvJvg8P7hWPkxO5qvxNNDRzGcfGZPpnExpGrH87eykgMTQ0WTsz6Ympyndc0e2iRse8ukd7cMJFoKIXo4Fj7Oc5tX2uIG5s+rh3U4g2TWj70pr3ING4T+8uz59RjaHLeWga0TI1G1cfG3SrPUyGsQoC27cGb6k06IIs74iShMOqDhL9ZDaJ6ffMwOVyjGXR+3OiQ0juWMIaaxh8knEm63Dx14CTbzF4OxYi33lNsGXUxJ3YrQTqvXVh3Bh6619BaISH2pIJ9vo/fUza1nKnbtHBtF++vTe5dI1LlHm61TQkh2W6kAQ4CUgE8LfSqJ9cr5MGmb7RsEBw2eQNkN0Gj283ka4PXbRQuHqtURFGCMSJ2wkhEpxKNvVr5yQM2bbG1ZUxVOpn8drYEupCxeIH7TpSg+pk+iX+jrFwTV1WvAt3WHlLzIMmllmz4OMOz2it8M6DU7oCEfR1HdI1r9WE6b3cqpuzJIZrgw2TryRqpVI2r5ThydLAOjMuBFFSoADRunGEQZqeJAUTutd7Uq5Yg7j7a7MOUBjSi/PPp5vbtLq1h+4UJqwwZgisHEABbgtbpQhW7Abm+d2iliazz42xyk7OMxX/rPyq6dmajcADowE3xhCrDOWIk3pjEnvlROhhg0wNfEFMxcVOx8uL+laNFowPx9JwLjEZfbpXZGQK7/sx2p9xI6nneiG+6TnSy2TsoVo881V8MjSAgobbbQT9Ih3opoycnOUWzg69yUj6PXuISBT+dl5Lv5t4elYkncB9Aw0ZG6dOgx2JfceSYWtF3A/EmAiDYmo+TPBxAr7VC4DA3ZCbS2kw15Hyy2u9yfoLUKF/RYVc3qxjdbZaM5YYRZ+enEytm5g5N1BhY58siai+i9qVcVDir8o/ATN9Zm4uERYdL5CtBXE4Q2pA2CQkhs7n5Nv+3sxP/95mNMefdSpUg4pwltra93sj6KFUJNymzWbTz/zmly2t9VUE9Jj6KjVIvvs9ijkXgluDmsfYzMRZlp21Aqy9+nIRvA6B9ZoNOgdTgyKJhyiAQzaYkRiJ2gylyjn8DHdcp19LQeT7bId7gmOZByuaAjSgI2TsClGQ5HxlIdrXuM13Z1vH7hap7s/VNyjT5VxtU7Ny9hqmqsgOYMwTPkhc2h9GvXLifh37E4bnuOlMffqwtcQIkKmgiwCU26r7GPKCPQUGnbFko00jLHZqwRhHJEQkHop95+eBhVsymx4Cvb4zKbFPsz0y1ktpX6Jiy2r+pgYBTKAsqZEFITYk/bQRNHPLNDdzxsfLUa1NEM1ya2B62+O0CsfxHmNzoZTv7FtGzgIll43dsKmFFXfTbWPmMC61ZC37v16xcGOZBRK5pSNwkcAj3/s1jynJGwCfBvsu/9A6peZgw1eG7DSiWMHkdrzp+PDZ2EqoEPS5Z+LUfYg7KLewLhXKR1XhLCq8gJ3iGkBnXJaBKijiZ8dihxRGhG26PKCPbk4PDNu5mRYKa8YZZAgkW3dCbXFDQrEgaNJH6yqelAhtjQtE1E2qjWqAnjg1KMAcudJHGqntoa5r4XfKNjmvOv6JYo0x/DihIC50XRmPkYxICXzB44F/JrrZety5GOyWfeMgWvE8T2ckMU0UbUQhtST6uRguvclUqd7wOpBUE+N19vaKg9jHpixlwFmRL5tQ25/BfrmUes5PgbvVNZjkw9luGudMZ7OpoWTdXEEdcrh8dDbh/cyHq9QymJPzL6xm4zab+LrGmjKnDX5aPhOEL8IyzAzHIkkhp7w3SppasWcUwenMKLFrTdNtYGVMyw6KrNLAP/N6o+qVvqRdVvM48eGL+2wI7R35DU9PzOjzQqfRSjqxL26+Z8YuaaZ/RdBGgqXbPZBGcMlVen2e+UFgJrvEE6zKo/5ekbgURkil/VDI2uO4PujeTyXYuqs07aDQSZVk7BpHhVxavdXpSjW3dZFV1H5z73PhLCrhNhxJDdYkGGfa72mTJUBzNV/cOUrru3ZaBU1w5bBmwZIP0k7t2CN6vsTQz9iCpz+1xCyfY9lT3E0jAlQTJbE78POzYxmpfFrmTENK2FfhswnS2syQiJkLLvbC9RFFBBYReeNhB3DBU4/W8ywKPmO/WwD3VRs07kxN9Khotu1fCi1EGnV5C8hJo/YkobjZjmywKgPjixiNkgQnsBLxqf64TnMYFcwH234lUUmpe8W7u5WFKM4ku/8kt942nKzuokz7pvY0FENYrIDiUInDpY5WhgVu644qgpZOIHASBqKt88fN9Y4QBmRsaSnzBb5m2qEMzSogqGQyxG++J56vaPzZSFY6/MiSUo050CsFg5XLMVQGCzaySUlH32Ef9bKWrvOvcQWWaGPo6m0dDbd4QhTu2MZAoXQ6BEtVGp6h1s1roXp4xBTqVGDryQtibbBbBmWbo0Z++N915WxwzhVi0Ql9/BpfOiPS8b+4pDV76OkmCzevg9bCxyBekcDrIfbkxQdnD9Odjxt5rCs6EoyVmYMv6AMJ3a3W2lTbN2qkPIpfYBUqZC3F/qzRKo72SjEl0SqQL45+a3HoRDkBZWUTGfCZL5J0kaW7C92P1t5bLdJHtyuq3qss0okjFIL/SpPPh9Hofa1R+ARXM2fzhB3e98NgbKGROuhfo4WSpemN3jUu9Smi+6DB6beBsCALKkjeZVebblKUyXEblKd4xx9FpVdgXduPUZUYKdq2/8inhAisv+CEwmQzbQIHWrCdkH1F9ARgeDab6yUn+usUfEotGCxKLz6avL76nILBAUtxT2aO23LXmhXwYtWSYytQhXvDicO37KJM9PP/2x5aN4C4qWz7lmnesOXbPbUrNt6lAnCNEgUx5YEOg0C8g/UjLS7hUscR4+8xwJR8vG6av5eQvOP4Yyr63Y8/mdJNqnn6mfjJFWg19Z/5qulYbs3ATfotDUAci0lsZNO1Cqx1ladAZC/2gguljwo6IwJBE0A2UMjJaEW/zoL3VWXI3RBKi/wZLnoH3W7/e2/86Kov2C4y2hif8qNgz0sjPH9/9Sy7pbpQdtweNijdgjJ2qsEyGjTj3VkRU5iJgrfVf0LtejcHUKR1DFazwJNTxsD6ko9vI0vVUznZ+Bar/ooEgZIoHqySjDgbxFOH8fUnHMn8fVqmlktuMERDTGVqZdv5gAIaICz5JjsOvXqYTVTDAqygOeWAhImm9qQbYTPD3rvRNXVZoX3JhNiNd1PcW53Lzp+/ppSI+/U2YnzxO89AkY6P/HfhPj2pSYgPDfN3MnEdrEQHhDYMKoWPOUoKPQ8nJa0OoIIvaAp/jLpeSd8owXKentUSLuQZ7WhuD6U2Yt8Nugmn9fiZ26Gsx9b2FXq+9Lz0pE052wKFrIRA6b3tIHeMY6utcqmwaH2lmJ4YJhPZ3fVtH//gmoM+CZe8eV2o0sJ08enr0lp7cYtbYvBn8H4NuvUvassEcKvZ6DqNqNLcP6MAMq6zxE6pMUveMZovYIlNLBCTMEXs6DXAWfze9en0W2pWLbVghiVuzLWxsXUtcdBtoLFAAFk1wsDLiY3pyu1Ve80SL/FeGtrN/ntTkux44EK+9A5At0iv8CoOn9opq20pNZOQMTQKgIwnpv17Fv7O3baBNsSuAIkUcXJU5b+D20PCbscWSuDfmMQcuZq4iHAWaIHTQo3PxwXAWVOzQqgExh2DGxr21bhTaRYS/fLD8TT98pPOZHUUJJuJ7y0L5xU7RN0nC0Q3eRCR8u069mxHfGBa51YaJYcpCzZjcL6JLKyEeZZf+fwq5vHHFnQYjQgvhvW8B1jqo2ywguuhM3XAm6GFHTdIg97A0CQlh77MF8GKV4AI0CIqWK4uTAE/ElQ0sf7MG1rdAo2hndAguw2SNAt5btrnuOPqHS17rz5oDTz1hGIyFH7Qag5f6E0XrY5NE2w9s9ZT0zl0Vri0zFE41kg1XIYUlP+CH22LOEQ/TyvMICBeB0W4X/asVWR0xK8al/KLa3Oa7AIglOdiEO6RkNvOe+uVzb5fz82Z80UM1oSmV2aOqwEfJQOw/YS2mLWm5dsvXnkVCe5M7dUO5vP8iYZrwNsm0HBr733Dg6h/fRkJ4EQu5uQ2LIrlWrWp8yWZBsmRWRK1vavZBhhbD1rI3V2X/kMmfXub0pkmARRRprSDhgwriPnV/WoRWhctefjVfeP50mh3ZhlzHBdOVJ7U7yrybb8uQmBI63Nd5r3Cst2vtr/EyvWwD5CryZEr+6AdxS7gapJS/KOLqH0PYJjxWOnQXWVw9evc8+IM9KQ9qTTYLlzlJ2MHW5EQ5QCk9+B1lLFEtJTQfM+C80XDd+lkdcP2N/O9d/cRPApeu0GnR/bVGs3llEbLZVWL0As7weOEsieqksSxOacpV/GVNPSgLU0vTryss775mEX/Jwr13L4itsZxuPF39HJN7wJ0OxKVf/Qv6lG1gDoBBPHJhEcHXXI1mI2fNDCdxqKWcYei4ZoijlMgDukq92yywlxUy5YAnlRc1mlVyDpZR7JUeFL6ti8XBMnknVfvwRtmdI2wZrx9zy7ZAMBfvA6lq4Qnn0ym6u7hK9PLIeH1vF9RTBQw4Kc5V1PClkKRRxWKIY96ndloY8GEJWRlF9AUCtZ6nZ+Nw7F8qvYww8OkzoRkai1/waJmPyqaHhnjnUKgcEl5ttiUxmOvKi2zKYPAuv3vW6DvwE0B+FB7dzszcaGlOyS4YBejyW68abAl8r9I+ETD+1NNSHqRPDPp0okxraiJhjUnqV5s/7Ls2O8d2ajKBSke0o20ejNwXrmL4kQGnOh57obz0eMFwf60iIB3JDmuHhilFV4NDgSRgInfamB/nY9G4CoMyGIONbzJFb2kuEwGe53LfP2l1x+cLNG8czuzOuGF68UnLGpZTUYesadJwBisfGULobsp8TZEAxRsv1MRrBavE2kIW8HL84HzzhSpyM7hTgVCnNTO4IQrLl0bZo4JYL8KUhoc3PUnHRHoKmekhfi4+1DD7y8dRMx2TjxiREO3OYI5cn21Dh5d8PYo1fa3nq7IU33qy8PQ2TZ01frXhR9uq9BREU5nHIBXwsn8zIHT9kF1r+5kKUSIQ2bJi61nims+xM4wRO5+JYMnOHyGrhVUsMm9msFOBcrXLCINT7ZOUVY2Dvvx+oCPfSsxHThpC1DplrhMcfNvp+H31p3CbLZUNbD/9EkWTrkVzR4dcNVwCGM7+g6t2NvaD69taa5Wq1efy9f9v7TdzV/fweQGQiHp0QZF0Ts0NNCH3tmUpnWDl70v0eE6w4AS5mxzqvxYaIhGWiEUJYxE1SQOKiYHl1tY97IcjM7mR3rC1MJDXumqQ08fjoCF/v/8A7a04abiJh/gU276UYYf1np3UqPBRof6vTxaAOlnfXS1/3W4IHskHYgmZxehMrS3mIJzOSMX4JbYBc6G9yYKv6u7MQRGxL2ZgM++gn/1C7Tkc7WyOmFeLpYtuWAOXUDEHF/QdzdNwMuiljY2IguILePXVdqZap8tbFj3zxqn/dEpZ/xvT0IhHwn6BhFDSzwpb6l9hTwK45sZ8UG+ePFoTkteTzZFPcU7qAaUNJ/dq87/UtWSFlh3F5aL4f/I+AFDdlk67ZKIStIuhoTCXhIjMKlChEV8HDa0hoGXgnSbdugtFsFGAvxKNu22a6fcf1fmzEj+lbJYBcyECczQR91IIfzyBuXTQWzb0KC4wqyTCkuyXWeOMDWti0ULSNZnJZd5tAWsnpE/VEO+hMTr5AVCtZVAnRsg887wtgZA+t64DS2ZyStC73YX0s3hRo7g+G2SXe+Cr6mxsoodYlS/eR9niT46X0tJDxEJxO1SVogIJc7f7RufFP7lAT0v+iis++HnoUy42EeNPvraOxQxOT9K2i4o7CHdYMWVCdITCHs4ALiHasFA1D1dEuSwedj9avpsKg5lC5dJz6AJRrZ9boOGmfNNB05QQ8MFyYb6sCBZC9l/3wrHuvc9xQrVooS19DGuwQcTbezl7+XvgcVWUJXg02Dt9AwAAF+/P0WIHbl+D6TrNiBpUJlAaSgu0Y6AOOEAS4a24ICBMGiO91LMquRDzYbdvf47Dt/Qbwjfjf5jYHyvSqpEMnwU5kZlfwR/cny4bLq5kPBmYAF1Mn3Xp8Yfxbmr8jHIArVmfDvsYW7tKjDLtL987MXml3FwV0LwpAXcIhwyHqpkwOLwMVxAEZmaa7+3iWhFA63NiwXUsdlSUKuroiz4qYwJPFjqvshuuy5FROyOmWWLZzXbK/CQSwDvmqqrO0BruYQMiH16glecv+jzk4wHaGQvmATb9Pyc0Hjv83bXHflO2AoJfANDjc9C2pG/2NOhCXB0HkYw9nMkrhSjRyxCBcCg+CYQa10u0P8OqUQ4/B4Ro53c4qHLwTzXfVY4eS045leHhBmqdxowf9747a2SzIVCAkd/ihYiAbP6k5SqcQcPy57A3b0VfvrHGgJyh+qyEgCG/eyqOVJyJx3U1M42qpkdbA1sMLzcDr6LKU0Dyt51jiwaTKyoi4KRabuWAY73kiw1XzAX99igGjE/Wl0/99Nw8SWvx7Za8/kyk5rfHjw9ua/eHWgkzvrmp5pkU3ULQaXK+/7AE03NkpJv1Et+MEFaIoMH87mS9X4TveZAT7nQTzTD6a/Xg0AT9qhpjzP9kSyYd3t3/guIBGVCODHzjEjQXJmQj4jjizb4Prs1Wo/XUw8qrHtKtQp68Avv9UH9eyH4QxmDDNwcIBZ4hWPmW9Pfiz5mnAjdc1flLNXcB0ev2q2yzcnKBh5YtbgirY/OwS3YEf60jukGP1eCPrG40Ye6pdPWlrOa7u5Ta1n0YEuEIgBtMiRZvS8I6W3oJQi24DKFzb5ycUELpkyjG7J/Jtcf7PsNxAT9lHQ6GjSAQFc/2ENpSbcundxM08xJ+Evd0hjnNzk71P7uObALTICHDSKXzhShRu0kGSl3M2t7SnaL439xj7dxpxsNgvggIAdOCWthpu90I/V7XLbWsIoPV+Wd2VEOds38B3MLBeC6QauY34HZwoapxmO3N8nTm48AFE3T4fieMLu4b3a/11YLjMEz+vHyyegLeMTr1DNNwV3eydBJrgxal3XG7wnp4fqmB+STr4SdiMrCxk31fyTlrHgAFWtDzMGeYF2OeDlhW3rLoJKz/nc5Y8YUqSICytcxciXqHEgMLEO3o4dYP7Ep0upF+igeaWpcOMxTy1YrWwkEO6F2BcHWF8jwYv36q0OO0NlnvCnn53FQd27cZx+31riuoknGGheczT46IMBXQ1v96Eg19tp626+ZQuM5ZvkNoyvSbVM0nsAxl4JeAKdedE/PYH8HTlxQT1VROc6Th57aJS/Ode14V/c/KJWDl7sDmqvzz9BsiRLV7EY/FTXwY78mzEGHDkRHQOg9dNdoluuEgZtkB5psAQvEEsmng6vioXqE20qJ7cI6RgFUrmqTX/kfLelY/wKhGaJIO+bBw7cdj7q/vWcBEXMsLA7z0iECu84MPALNOEUuN5qvnyKC1hUv4NtfvVDOLlTbQq5jyfltvT8U9t4brWTW++E9vxaNs+cSrVgKspJQygdhcje+6ALWvpocQjeQcc99b3xpwEYpK4x23OcRbUbHFh6FrPMeNziQprsflbXevVfWtnLPECp5mYJ+jhBdxV/E8+ztiPFD08y2OjIkAbufUGVxBzRUvMxI2UbL/6cppBMhf3FMf3sV3H24R34fuS2+xpjHdibqwZIeXEnZjIKZ34hYkMYBMQwYeZ83t8wrNdlGuhDH8KRXlBUVMzvoowhHPIHatvo0Kdxva91yO1pPraOH8l9gKnMsrWWZ91oW8jQgw/llxJWq69WndiylnsAWTbff18mPfRzhmHkY2JRBuPA/MO48I8CUwyK/uTs7A/p4m0AsGw5kBVwhGIRrdkuOS31AtQRvNcou4az81kNdl41foJ/oowY8WOWV9O+vVWrtfdFdbcw2R1hWXEvoyj6S66NN3wPX+5tnJzhIahtEBD6XKZnGZ0oQCAWGgkmCG/O39FVrXOGQoELEWpcKEumhnoT8RJF9hXpubo1zrjr76qzsokwUD8TuVSJFl7lZpj/tcExAnT3PprH8Y48+EgY4wWoTC29QGO9zxThdHy1y61twA/9iyBcWmwzyLSV97V5CugQYe2S6cHgRygGlSbM4lf3eXDyF155JcwdO+uQsf1RlztVph4u2zGqluyOe+C3nTOqGJ3ZLKa0XUKJoZtSb0Vt74icin1MqvqXQr1NuR0KRz2YOXOPZmfdiay4ofc4pKXR89qVtqsx120WnRaMpmaTgxTIE23xxk5XSLhYYwVK69gr1bWCBatuau/VaUVsMWqNIgUl4Ncw8I6Y3FlXtIC0nNwfw/PPSs+NWY4+hJf8LMVSEQFvzWj3BpfBuVZlQSkdi+u8qSSSG5gqXBl3uI38cpQor0wCRarbHEP1u88gxFzuWJZQyDYk53/9KGnZsNfs4RJzU46UWZhhK6PfWizRi3cnvUd3Ia/N5LcJPp9vhZf2rGNdQm6JqK2PCcEwVryDmr7wjq9iEXO92JGP2UYZpiBz4jgCcPHxj1nF8iTbynpsWeLZnY1o1UW3S8MPJMMwEu8eTJRPi+CcaFhahEaXjX8Tau3OiDaYvuza6XDCL9NN0MWBzD+xKhDMY67nrfd7eRz8tx6MWL1QBUfSs3UXmUNJzNTWQkIE4V5if3OyBaF+06pFGJpfPGy3hnErblrW2S8hHJr2H2u6IBYleQOra4DldR/weK0ZZO4J2mGJUDmo1O8e2aM83Q6tX7z3ilsU8lRwKsens0Tbhq2Pbh63gjPPL0WgPFiubwNNJjRC+YzSrnwEXMI66QsKQGFpbioCl3iUiGdevhhE2L8C6Xa1bbOJokrLZAA+bmEsoaA6MIfva14R3oPxyBxKc2xFIXcKSZIPtEEm1GDW+eeqS0zdO9i4v2NNLk4UnZ3dokW2wmDb/+nv7UT56b0B10NzhzQIskLuCW+vpHLWJb3074jEs/F7td2pcKbfwpC9Ps/OVgJ1z3tsKKE46kLTN1BQCjPHa1rqA0uJmosLSIyeSh7P8UfKrh2c3eEiP2ECHJH1sYZQodGVu+OgRl/fZA14F5BNPxnWWiQszlJHy9XLHamlfu4vbFkry96mgbVQ5MDJynhfBq6bSDRo4Fz2KcKFS3g0/CeQk5Atd2uId1IffTdk9A3akBHRFPmUR5SNuKdZ6XuYqHIY6bVvNHiZ36GMyH6SLCeW2CWDAQYG/nog73OH1XRpQooFkrC1jmgK1DpvGkzYVdAoG8B2txWtdo8ZtSHioa8A8CwswBCokEljDwxpr+X9pc8GZhDZQCRa4YMhpwsz9IBQx4Bu4u5rivTavbNWDstGCJH5txYi/nBYs0qlHe0yaz81CfwBUb9xgBm37fl6X5/quQkNmBF3DHYcxQ2oEDqTfg7key407MSwPwuPMpKR/x9w6/3BClo00ZX8ymi6+WH00E3ibnOgbnfoOD2W45GSVCotsnVwdIC8dyeiRptqtu+TMDCuPKttAa9y9LGkAySiZsyfuMnKekBJ/z9ayGzuc+ZsihTn3WMA3M0b6FughGJiXrzIB7Lx4BCa7LUa4J349+tMF0lPz5TGrFauzbH+4TvICJYfeVBGBMhfgPzRTob/PxWgQXGTiaBwJJwAuZBMmwAexjOAa8JS0CddBpvl/q5EjZN3NFEm5OAFCWWm6LrlB+7zI5r/fr99n5dV5easdygRVHsiOMRMDG8RhkHn+RtGZsnq1miPqmhDqfHAzUlVShXpboGb/I4q4vw7WlON/cL2Cbuo2nulCO3x/eMl63k/q+8f3Sd4cK9v1zIRmkYswohGzcKMK4yaHsBZlBzkLDdqZu9nSfH4e3AZWJHlw5iI+vVYZV0OHsNxBTa95HYDTG+vliwO6Qad5Ki8rP6Ojg9VmxULfnRg4Pp2gczkOY9hWIOMOY/vZ5cUDkh0W96qX9X6tHVQUwYU1O6by/p+HV6G+aJl6Krb5sE3RuVEhFl0XL3/JhL3/8q+mENUj31FVwpwEN3+7tGJDcbcVfwoR1mJXQTJ378P4cJtY6fzuJ7zwDaOw6RvGo+yZtCJdubkUnUhOT++B0Qitw+xmCY6xQZ+SBNodSD50OlhJtHI84UcaN9KT+dF/tIE8YHv0EBX4UsCmrSg30xEtVj+/XmvPAgKxURrXWOT7FcB7gt07TIHzBqy04Y25b9SM5eyTbac+jHM4/MtzbXUrOQAz7lTHTgLsLCK6+As3kcZnezFV0+7spReR/mp7Ru+Fm4zYoBjDGhL33OXLG2fgCDZCCorz1qAakPZFB4ZvG/bLO6LeT1C+eGiY8Hm7PXsv0tUgIuMw6RIZszo9PF6KuqwmUQLNq0j6y8MjJ3SvJ32kdOxF5zFQqo+5Ta8tY6iM9MguQC42xIvvqPJF3Wk/rXcW3dOG3nDzcbNw7KmKS3gVqpVNUFp8PWjMonRMB2CmVDNyt00YyQ5/QFm29FryUEP7M4Pz9qyt6GZVzP2E0Il7JVPEabeR1t3RbCZEfSDVL3DihKWkAcEaVID0LbK7iEBPPWmmyb+eJidrZ59mroYPLHvDgfz0zxG89C0rSCZGU1Sm1AHc0NBFKbFqUjddIbr96vDFaT+zSdzcSnng+ntH0otYGdzPwT52pu6PaRAdMEhPKcQUf/BAc8KlajyBG4BERWc5n/HUr0I9OiKfGBoZUCHqo2rtO/+Jbv1tlfFAdB6bgzRoym2D7JXsZtXlxb/0/4UgsIPjlpLhal3Hf9pOMQFhyjZlDZyoqQBLnoYE/iWv3hWmk6qLY4PLFsCMPuBAofMZZgfdfCehFwcToUn9cfuRZYLgOJJWL3IgaYBcuNaBhQgmXUPmtAdpBUdATCZBu/dyvyrA2sHqaGmSWNcDGVxPp7hh85up1heGkOrM9X3kDG7dm+dZjfJ1hlo0Yq18lDk/+N9juskKIP4rhHc1K1my7DO3wa0+zzFtRhQI/zrb256RBxdVBFzprMZZv3kFbF+2YWpWSjV8qNsW0boAQGuH5fl8/KxcC2NucOicNKbLuSaivvfkeD5HIEto3Pd2CTJdQUkZHYpG5O3TSni5NwRDz6vN8f6e5t+ffQGZ5z5g3SJ2n+/YbvH29cGCzdvsUD65miFo3WqsE8+HBEr3nxXtTSVFp9ku6P1K0xVLvInq9EGjEL67n8DlGYQFJ8Nks+Occh/bfhhhOCS7IrmZY2K5kO5BlpPdCAWzvWzzAu8dMFGXAD9/TunjP+a1nfA4O1U1NmtNLu/jt7X85fjPuZm/ToyeAHdZ69IEBnSVe+l9LpOMZ5ExSdvjO/aujqnCQt0lxCqmaIrPVavNyfqUSd7kVy58U6XuiqP4T5cTd/rft82/TOwX3+ZohuDkjIQ7q+sBq/6btLmKFBvFXplIAgohdxBp+LJ9/7ig7MPb4P2uOnI34+g3QIGXcu4L4rcD5BrLD8GZkC3E0SM3oDRSNDVSbfa4jkhnjl7NGx/eW7F80cHicxfmOGSuwZ0xhm0d26dMKiuvaJN1CQWBG1jkEqZ263+v3nhadBIAnDVA76QGRJlukni+eldGIbMfKJ1GDZS9OWljw9TA4o6yCmrmXkcRuj7Pf6ybEFvv7VLVyO2JsJ8uU91X/iAmcgLNw1wtRDLGl0SyflH0QKxlLC0LeBqQsMSfIB7izD+qzs3+3RqwV3gXm1+tJ4ymQe/83zx/50LPUnpFWKt6x5X2c98y6z6+FAl5cmzi208dqql/ZaYsQ8lAu6qUoSfd99CZDrIIQBvQmczs3vI3opWUBi/KDSX/oMoXzESpWXDhwuC6IpnC1STAkSaIiZjW+stEKYhDLWwD+KbbQl09RB9uhSXkXSp2k5ahoGTVHop4JVbkn3l+WVo2nfpFif6BrYwyywle9ty32RJoTBWKgB0i/MS18tOgUVJjeMTtW05Gi68nec9eMTbHyazsi1M19EWrELcOThJLvmI3lMVyLWV0uBUXUweHNqb/VkS9GPV9O7AdRcN+UY9c+A3RA6r8hVtGswRv9G+umn2S+XRihWjK4v1w29wO4qnO59egMZVzybULXylv/jECdgKKG9CLFR8bUP6x41JihokqZGVnwUn4g9ShAfBYHMj5r46iw9q4XrxlUgZF4L5Fr5t0gmKvGSIVdBFW5F9sQ4joy53a4zFhqbJ/PVMGEilr1EwrgqJYp+OgyenktlqCeKYbIPawgF1ZUTF2UgtKVTq1IIblPYkJYSG5S6Yb2mWmMrxStcRntTVtHaq6uUlfpaqGIj0utntlxUQMZ6A0eVRrwK3XVd0UfpMAhQbIIASeVKWUILoPL1qmQxIpn8J7W05NjQIq23+9NnBSpi8UHhYxK/XsBqbPkRBGWIlcRbNurMWgb0osb/fEPwACwIt4gPHkV7UMAGhEvEW7vFtrMVJQvbcIiOPfkl9kkq3EUArtpClOPMT/xeHQsfsfL3lCj4jazIZfJrymELRMGHJ5VUzlkoZodA14FuhQwHx7N3znnW/oEx8dDAiP/kN+8zGLft4igRAMWKt0PDAlV/QB8Rry2KTQHgTcGoJh4BVmdKsc6UFi0llPB8/V4R4ixL5qP2WJze7KNQvAKfT2kFhJmdFe8sqUlJnVJdvnD8xmUzsJi/jsWUJrhDD/0Fw9cX4EkfT+IeFfv5v65p7ydmjWAHoRt1knwUiIOwiXPCIHZ0MEujzA+cYoKs1PN7F9P87sR+6aaDzKO1uj3xYC2RhT1s36pPdfHFcaNuVnf306VLu7cPmhjTPQXB9cM2uDvF4CYb/wO2t2rg/Axu/9Z6LDVNdv2xHLLtZov3HQcmvcdPfM+rcbv0zXuVEJtp13K8itGzzte95RMM4j51n+sGdvQEqlbmdOlSs2aSsox2HjdjabvIodcoylqvFb8tRK1tXWGLeljA2VoddUvufLhXNdwuaB2CfHG+CItJgXzMIbfi4eUoRaXXavtqpBCnh/mOWdJ6fz0iJFpXkesF+n3yHgUpBGvCSorEANPTGOiPdliTRlNvUkERvFKbAtySL0R3POTOxHmKgfv6x+5KZwB0ex7H8ocvcps1EurXNvvbGPfHouvOfjhHU/KIiaY/0Zb9hlw1IbILYu91x4tPjYxezumgADptPLXo/yW1JIEK3tGLXksmidRxVGRahyIJEwIOYGJaLvvPIEMxyTp7s/Bs3HpzfnciJWpoODC+fUua87P0jogkhDwRWx0UWbwu/qtUVx9Dh7d5EoyA9OWLkp92/52005OWE7elxkz+esO1wOwKl5evavCcxypwv09vnhgCOICx4O9HbUrvz74iymM+aaZ7roxJ/TWxoh41kkdlOvgUmbFZQlZgYKwDcvmblCBFM7aqe7A/+e4S14ZKl3S4clFqnG5qKv9YwAsCLJ59emr7ErgWQ7pi/zO8iN0c6ESWlSdhH0NyiznT3PhePto2GWrSR+GH0eHrCu4f58dR0XENBSybsbzjH/i+gNBNdE+HLvU7kpso3DobgrOaY95zmIXrNHR9X2bV8cd7IpjxDGOTe/wtnngKSQO7NHIDdasxM2Kn53EBD8fxzQAa5QYk/WrmvQ5weTB0mBvlpgLQm5ez14p8f+1ps8ZZ5tFT0V+SlMKKgHERckOiW7QBVqE6thxsTHRGGQorPzIljT5M61oS0W7+Dq1HLBnQgNuXxS92VxDsvvH7wmTG93cwkM9wPZgmh1aC0yBH6GoCwSDnd32tUj9Lb26lfNmSE6MWoBtpG/TuDCTdiHC7a+woHnVXmvL4XE4XOL9fgOaUkk/aVgUZhUNXIRBqH1KN7OAycoSc5VLteFh1GNzffOv7s1semlld9xyctNhVPriCYyL88tpZojuAeh/5vp1On+POKqUbFxLBWRjLiUimkKCAXASXESFbXsIyViJvXgeO5D1mSQcmYQyWZnUknoj+weQiUPdpY6s+cqJsvmtoe2aKgO92Uo4I4SLSJOYmMukGNeBTnfd/CdQRSlAyEK+ptzoMsHXRy0laJGuAhCHIfZXrYD8IbZpLO+Ma42HEoibb/6E79F5aMVlYAMkbUx3T2cWePeq016Qfc3JgfrPJqwiLyFp4qtJJI/fTm7XKN+Ll1TEzYzf2l40FSkpyLP8oKyGHvU4j3BCo8Zi2j8xEjnH6ZTIu1vgVwUhuT6o3//hx2GNAl+mdmwv4z9R6sfnYUEmfrTQsyHbBTdAaaHL+boP7kKj8AlSo5qME98a6TCHxe2Gu0booYJbAgBvvKO1y25DPZ2hXGSsZtfOWAy/ZAlEZvanhXCb8H1tXCzYUx04R9UT+LGg8YJn4KFJgUzuCxspT3gw1y1eDl1ClZbaE39S3tf8+qIlHM9eJ4mxQXi29lRlpGv3TXirGlhLAifpF3OrBl5nu4UVcYawNKEM5mZrXmB/uDC4zKeBVd1lMEAwEtG7srfX60jNE9uXw6twu8Yfk2cUlb0bT7Qt482I4Qc0woui/y5E/TWLXI/QtV/Tp3YKKTfpNH9o/zvwoArYOyOUHw8EKKpd/wh0wPyry3p9+cPptpkki87a3FvUqT8F5jUCgY/RHOuxaNEGvfPyw9cnWNVlypgvDj12kpHZ6t0L4dscfLPhMpRMyc6JV4WzoxDOuUr/qEfyL0pBBs/1UMMDNkLZ4za+DW3D+af9vjrbsoQeKKa2jHTcwTWiWctsSfrkv0ZKn0ki+S3jJlnjlAQ4NDAyyLPt15BMFdLdh6COLnjSRfBuFFbUnL/HqOMioMR9W+6E6IEraJqFbd5ZDOHFf5RzMFI4ASccRPYoxRDbvf1xvG7Mr7luO7O1ucGImnrcWz3nXAu0T131nLiXlTQRRHm8eOhC0XVdL5Yykp/U7NuuIt6pU2FI+7EH4pc/Af9kEcleJ0xBqkEN+WhbsCnezTL1DNvffbfbpw0cAZzF/ALOr46l/bX2W/mOf0kUkePs6b9D0HoV/Ou51p0ZzeMC/oLMDRj6J7MYOLzt/R5xmenM/ZMarHu7pPzx4sydIgR71sqEl7ro1NmKnUOHFOYLoKdQeZeDvIW/gPE3NCuYd1wiv1X9/xcROKElqwNIYm0Gtm5OzxQ46HJcQEQeQ1sfbpBa0PdqlUd7Mnav9BYpV6JRYXPO3LEjq1hkAR67VS00zD0vqiNLSnNHzIfYWvt0Q8mCj6gEh4DAXIvgQ5ufRke4MZ7OeefiWNLIRaHvUrUlRXLX2kkwQp6rDnUwEU7oE6I1h4ppzl9iDEfH8+FstK2KtshszIwJy2im6bMwWsaIB+3L5eSN7DQ1GgBzDPhjiS7pHb+7QrRx0+o1MDC3/8Q9DE7ARd5WDCXGN0WJPFg6OTy6Ll77YeyxRVBpDOM0O36HkxVQ5cNq0BZYU0oRGbj9cheXAa7qqjsjsy5HcHB+9G1UEqt6qo2NqTStzj/NcAdyteYZ+gCB156+Ep25zaTGeUQ9FE0lV/8OETlv2WboDuNgcdtaF3c+isCYSijkWvDB7LSgzv78y5PC26D09sPCYaTwBsmUjmdocFyYYSZfLa2/fhh6va2orFDjRQUj4gVEnTsJ3emBhRrYQYqo9D2jonadjdH7ZVG+ovveGdxgUcdgONW76ZH59JMHokvJZKgnukV6gKiySqdmEIchgYTJx9UOWj0DvgX27AYbE875y8a9ze+WZgtInDElraeBT5nqm01eTPBs/0fmpt06CCUJT1znrd+DFZA3agPxbpbV/33GYVI4K5iMdIsH4e5UlXqr0usPpwH9Q3K8TRnlkCrwF4wsefk0F0oZgNfzRDB1wWAsuCDexp7DzVV0lFaCAURArQL5veuqdBm2w4n1/oCGrvr/5XlwdoilhQhwEn9T9llu76OS7eUWUmCiE2/m2dx+LZj0Lm2agBHd+8DDEtzvji7SF/555G4qaMF/9j9x5Yqe4nTY54nEEWKNkd08q97nQ4z7Ug6ncZ3J28Xmxxm8ethFIvoqEFlAFnpLfe23HD8vUSXFXjpk1fi61kRrJPD5ryuHv5BZB5BKpPgHN83x41tFUfMnETS/Lfyt8/OH1xkQREnUBZHDYAHsErsFfuN6yZl3VnHeAVGtXEiU/HxvBSuRoFbfKG30YQ1boUIpeVt04gncXcOojV6X9WDjs8gu3oRdB2KzRiXQBLY9S+G5GDlBz4hY1om+SvGAWMBUVHdvQK83GqnwmOV68CNX1TqzssWCta6Ket4i8Wmo+P5kqhThWojvvIszb+rKjqmXSzNw0Ebp11960ubcwt7Mo1SbgEHaILQmju4s0NE6nUoSUz5F+SStgOrvBBTj8F4kATMH6toxLuBdk3CNcvS9UIkt2Q/DIDLt7n+T4KCvxjVT7PbF9+wAb6zJrBN8UTaW6sqxaxjMuQGOuG1fbmwOeOgv4qaCFzCx42GMvwfz8hMRnLY37HzoScCCXS3fi2o88WJsEQAn/mEWxyjTNLPO3bz1r+J+NIB0YI5TtozdOdoFO4MBvsqQlUMccCyGXxMn8Dy7yWjbdh1x6yetcRG9p0giYnHkVXoqIlTIfesBlTL40hOJ/j3DwO7Nc2qyLdqLfv/xUtECG39hsqPc7N+J71qVDJ2d+eSMDt4msZmnk4LKWoQ5R64jvRKRWttGhgWdL3MOytLerJzYosK3WZx2t3FHqMxP4ErNrQD6TBL4fLzlSsXLakZHwuCSHVQd1lDxZOYR5I7y4d5ggOSfqBOmfmuUnLXaow+DkpuL54J0kQjjvC5rBjXgDkm8wSR/83FpT/Td0nuMNVaazhprag52GfDtWuxaCUo4g8ymwqlCTE8hnj+qndnm6LRPQYRjttaJUMWPdTZTNnLirrVFYRqpW4VTTQ/YDcfnBHX+52yFtheZbg7wWXouxzMX/a9/Leokr1ikbN+jHqT/4AezqUG+5LmNkOA7O1SDvn4Kg54hRhwRT+hPb1xlPzG9tG7mv0ydJdaf8C3BD8c10N+bUX5JOeMnQBS9qmJJWSTMYBIYQALY0+VwZeF/OyJTUBxihMBr7bcLkpK3lOMxItfF7zou4zQQTxEeBhj6BPVOBWV7VCsmftgsr7ZBmkqeuEuupP1Cvr38OXRXlFEtF0PBkjoQSMJs6kJFCgFn2KdieYlzzLeHOaJOuKn/p3Xp/JgqkuFNAa34v3YmdoOGKMHBdvXpGIIWh5awi4di5Wk6rpApJZSLLYU3AiIRGmyDiodiK57nLtCAxAO2oVfszMOxEbDHYMGKo6R3XdYjwkiFbbSdqb5hzP650fzxKMTs7XNMwmP9W9i/5QwK6wh/8/QQ+dmn1PRzxZVFUPTCswo549JZkmvhWnidDqJSn17Kp6twmmfTGNUhaA+lQaUGg/oaEkIbhfcubW/jtoFOAzAWtHJoVotFPM6WAJzzUc4mJydlhpuPuKhNGCbO7reqkaMMDv6MRWj6EKc+KHeajTjvwJsxAYOkV20ZKkalgpooX74kd/mmKG4Nscc0e+w2Lc0D39Fq/8BK+iFT7ISvnEMsG64MD1OHY4BTCwTx1Yi2i6cXis8QcsIfLF9XPBIaiXEkRVC+N2pTqj58I4kx1B1ppEop0rBx47P8UvYBvD3YXx6WKhTDDyi8Kpz0wGVMIVj4UGhqwAbbWRYuXUwSBUk1QnW4E5nzEMbLS+F+YmkFXH55cuIfn79jh2N04qYYhm2L1iwcQO28xX21ZkbsqNtKUSzosEbFIGVAaPwVkLD7K9yjwjbG10n57KJuGgnGeow57RaTGW3iMW+SSQhwwm081Hu8t9vRNtGaVCbu6I+5esz+kWcafD3OArpDyuQ7idGRXbCXYYbhS7C5e2mp1x6BiQkg3JS1loRwk0Alsl5uBw7m0mjBS6Rh9eFBtKnfSvp2ItFViyuWyo/LdVe0e+sP78HQMKnaKfl4eN5HZ/mx9gvAo5Wx72bDEnk1Ze7T/CjJqRrxGl9J0wWZrqgeI9DLtcPtHsUysnu19OHicahUE+JeTxg5f1W2L58LLc003TinEZ5v9u8xQceKzZLcC/23S1YbFR+uZA7rG6wNxmxbLtZjBD7+tU5I7uDxb3rLMH+MD5Cb9WkPZsmzZLTUaOb9OySSGDgcVQoWPk+oK6sTsppFCh3HYjb+E4fCar6ilibdcKQPP0sm9Hg8Tq3czcxLf4yVpj4tMFipAfjM0Sy5LQ8VIt+6/oVQoscT7MDtMROEjTbz8xutsjjFdHJB38ZhSfrr3EDPzaOdf2aLjm3swVErrJfrQ/LxkTAjI4HTbD6FSYMHDNwWpA4FtvcLxFgCrvkiVVpx8ZTaLoKAFvHj8GGg9cUtX2Qa+DMMjd7kr68QHd+W1JppvfovvZHd9932Fyx16u78eZjj28a5b0xcoQJlvtVI7CFsD4Py6f3e4SdeJNlElFnGR4SnVJ7kSUGtf8tbfDwxO8E6GNl7ojviGj3Kap0tQBwaBBJprVnpdT2xe+UrGYds5UrQbBCtdyoRF7WzKte9/R/HtKjCh0mMfy1cwCiu2dleL+nMmULQnw+X/6zwusZSRuYmGoFVUTVNPVFz9WY1kDtVo86ut32ZyzJW1h62eqMPK+aLEzV8WBTafhSk14QY+o/nvjNL5utTRlfsfEgTLNa34Ajr/+ZGg7GP1K6DUdWGRi1TpcVZfJMo0Noif673SAJOeMOeKgpD/h71B2ene9/dov1Ev4YUEvB0cODUpCmfx09TrL63okpso3K9gyi8V7cCom+/JzH6Q2nIiFLiWTVChLgvWuuXeUUtftYgre4dWwL/gDP0O32ZH0rwEvNyl8x995yfSb4aa46aBn+fjvCygdROj075G6qollFgqhp3drHFWJv02FXsIKMl40mC3s+y0UOGTWV63kAoYPuC7Y5eQGe4o7ps4MWiJheAgUZlDKjx+5p2tJ7zNTDEJIdTAc3Q1gLhxZEqIU9Tkw24GJTPKuBQHJJW8y3AXYuRSI+YjWNg6mdAHQBf8a0DFEqMklv1cSJQLQvK2rGuK90mmxgO3eF9TTlqINZ9ykKjfLKN9lfN5x08Elc4BRkgv7XGuro6liPsE50w7p0n3zpeo4hJbkagK4eoElpBJnQO8Af6op1LimdwhWR8FvU94FFnx0SYW6mqiqQHeePXSdNlWncCYdM8x9xXCfOB9DccmfteO7c3sJ7knTqBuTwcS6f2JuftmZoreF/HQH6A252jEQB2dzvAQ2+DitVIk7DWUhljKjwTTfs3tdOXgO45K0aECxeBO9eF5uetKX0dbLDXff23ytjCm8txtLiyIJsieumtc5tl/6/AgS8acHN3Maqq0BlSpkBl+0I8U7Jygj3wAPBI1LC0Fhei1q3PtaCQV+xZKiy/FrIzCaRqn/cbYPuC+JqV1MMUXcA/TmtauqZdx+eY9j5vd8TBkofQNF6EODaXgYuBluBiCjQVLf+B461k4cNz2Wm1EFGhYSB4+JybsPGzMll8Na2GzuI4eYT2I5TV9SkxTj+ygmuY0WCLuQ/UyUTsPgSyzprRTMTqekIqCyaylAn5DKXAwZcvEZ7lsbODcyyNsUCbimeijPkswK2/DQkAMqE9BOm+/fopCIuvxP76uOSfqq4cO1UOKFV9MwMw7s5rLb47JOPbMBS//6SPldg0ZvspLbqi9wJgOYJ0igcUjEDpmt+LbVYX1g4+rl2pPDqYvVa2uAFp+We+N0/tNX9TcQ0aA+faWCzNTLBtI5+kr6zlDW6HlRxvZa7tj+YK9SpFjPWFyAjBBcT7A9nLWcEMWYYEIqkW665u87nXNXFsyagUGSuHvgACk+DVcFfN1GFQO62xvcTbmv+3zkB1oRXMytzDYdcnVbrAPl00R/bFF4aNoODynxd2QmPXo0mL3heNcdbJS7HR3DjqEeubbrnBw8VP0ed//fa+e6gt7UupfQvdmf6KQXCEGZTEyrfSFiIfgECk8SyPNoXEiZ0E8KmuOAesIyg4KBEHrI/hsNSvDu+padi+evmKLI1F+EDCiafw0B65cd6TFq9dMRNdRkSBstU0HnOG+D5iMdvaE0FWJoOucWbWESLOl3cHDvSzzRnBHjGCWZLtEc4RhJFzRHhK8LMe4g6yKtg6BfIciHg8L2a1dXspDVD2lNHNDauZjGhSfV6RCrA14uYPYs0dO34o4qNHGntkd+oUd5bhaT8dA8DmTDwUIgxm+lqL/E9ICcvAv5q2InN2IBsDfdML7WvyPyDv7cTGYK2STTb/37VYKpE3ODE8C/5N+s1Add3nbL0Gs59tQWIQgy0/v0Ii63V2UBBiwrtHoo9QhEakQ98Iq7/Epz7LBvKfTNTA5uURghvOBc6ySFVcfyIpQ3aITi/frSrkCYh10nKyyKDK6QAgkEIWIawdp3yG087iDDSq5DKs2UorSHeVPA2YK6+B97AjoFNmLxzxoPhLUfvAjoBjofThRPKxDUezhhKuS80+MTmrv9myvBvUeyqChflPCocGtNts+o6KCGsNFkUkncEprDxoi1f18+oZ8N68y6OxWEKZc22sFjBjR7XqCvY6No8aFfcctzlt1im228l+2iZtICLyHwmlEUev0fiZkWcyOoVHebk59L+YHGsP+kKqfY/cU6lK/fASBT3zvWHYy9iTGQs9wUeX9AHJm35l2eAzNIG7swzm98Dn2gKPxwwkj0pCZ1NvgAJwIhRNWFBnTIdCQVpDCZsX9aHoyVedMepUVhnYl/cfzI2KdTlrP1olZTQ5bg5845e9jNmjC1gudqOZX89zgjNQJlfxwf0IqtPFppUIjFKmYijMveI8I6tIm9Mp9Mx0Pelz73BrMPot9xyKhICZxpth1Ux1vYQL14Mz1+ZRiZ/akQ3dvgQOT8EyD6JlUho18jqQ8p3nebU5uurqzd3SJJsTceFAv9lWxlGtLZ/mTjaAT7opFTvZ5Qb61sCXDvkcXSl0lG9akuOy8vviVvoi9JVvXeu0Emf2wdijsXauQ6k+uIXm/RckP8va5jN15Y3O2Q3j1s6RtdkuXXhlHRUw5eIt6kcabiKx+MzUCcWxC5wc/KARWWFehISA34zqiK33yk5cAHKlkqiyZMB0gPeDnG8F1uo2Q5YMNKWPvZLNr0ZWB/7iIxxQtwtQBYzZjehgu+cgRoyOuNTYx4L0BF9x4ka9/vH342Z5s9nlhaPKECILrjQ++3wXba8b/tKPpX17M9gZKLalwEDgl69mpTqLerUpZCDijfH5A7s/Cm7x8h9tP+o0GXhaV2TsHa6NSxKTzmM6S7/lQrDaIRaX7O8pxtTz9J07z1QdFfRT+e4SIQb9ckdfLjU98+CvgIR+0YV9+/yk4olOs8Wf20SxSC1F3DJhJyAytovi8Ajz0NimbjDPIjKL6LjtBt2YomMexxNoSX7r+Mbt0b/db6VowemiOWUeaehv6jlDjLPTvXs2cxOSjg5vx5qQrbDBECVioK8zkVCw310BlkcQm6FSiJXPupVyoiJ6H3wbMOAQD4IS4dNG1OJZ/FemDmlKpSKUBnHTazBafo8TwQk5UgU6GAOxKRrs+1laaAb8zx8iYVKFfc1FxCsJj1S4Y1o4kYIVpxENxMpZBUUMoRN2X0wpEr0odSJJEcjX+fOx3BcXF/QxLVKPRY0S5T/7h8c+MTF/CTN4O0SK9LWr4RVuDjWdqbdBTOSn7uK5cGgWpFbLKFJtajdIc1Sd0FKDEg1VnJbInJBiFB03CQ53GHxr6wupzZXJll6Q+efMIpHWZw81nu8YUqMqj6FjGvu91hOMHdxuiVBcA8p0y5FBhBRWBhKMocl0NYHD9CcQrYys/6StgWXsFfU+zm9m9bd4K2LBQKG95XzvKNahbfLcy/OM3jDSNxYhLAHwBtBVGOSUJqoF7XO/dNO0WzZiLaME0YD0u6q8xylfR/1R9m0BqyTGjlV05/JO+iN5TeokPep3aKmDUMuLst95zuSOLQRpQ5sWlBy5dhVF0Iq1NOn5MNmnfJnjSx7M2FLWlThyWjj6172miEV1A0ujCvvFpeP3n8kJx78rESeqSaGMzsNGdPGEiowVxafxueOWZhx+v0gvnJAMrtxAsWvBenibHMlEEqnlI6Uz05dgihRj281J+jCaksvH8KHZsarv2hDE/YTunme5BFaHAvAZnea3WK+xcYk4Fb/V51F75I9SudeKe9KsqMUIlq4pRzHA77S9JDJBaVk34YEyLxy1/Djesi9lCrhsvhjTHPOJy+fG9ESEaNuJ3KwEh/9SJZUSGoaOf7z8zYX7ATM0agpWggBW7UK3DSfm5Sb9aIom74ipjX5CXJXfI1VwTJyEctfNlvzMJOQGrbuKPmLVknvH6iYX2MYYqI2vb05DBYdJc4JufVG5uTvDI/h26RKLBnypJSGyG0w8N4H2RO1o7W1C2TPQl25cHyxcnbit7qBAD/KPHK4PF6X9ORmGUZHZatznU5lvLCB1jt70MaIKjd39OCVQbozLfqVekLqN5/zshnSZUcX7muTW1F4L725DFOaTO2GvckG0tZsMlQV33ydP1d17JKVz1uHYt6HjKTU/SI1i3ojY2MokuTLelbBV5c5bg2ZIQ3SjnBau2KOcyk0CH7TS8C0ghO8+CD/NLHWKu+VY0FTTorYdbF/N2DK1xgCVE8EpwsSHHwvaZeBXlZagDk9m5vps0quAD3Lt5SepXdk/sSY7agganmKi4fDsIJdQTJwPec3qatt08iVtSdvttQ6Z7hm8PIQuqgrwcssZo9Gf6Ghji1IJKVzwSTiTCrE6CoNMCg4nYz2Z0zARSmDFPPHCmlyTTxaLSO6n6XaimgV4sDhykERwxaqTXOD67tRqzvef75jY6WK6HkiLsi88BPgYvW2w0rS3lX1B8gC98Ut61/rjAd85J8R9NEEaaKXFvQMsGBRJMokFI2jK+atdkvbsy3itMpGTKf8bFfK27rKV2xgQJMNpc9GoGH5B13WcDc9W+Vt+UvzQ9vwbvuskAoVxf0VLeAMNc9HSlIogpJ3xScifccURu6TsG2KFgPC6JsT994Zt1l3ujLISSgRcuqvzp6eRL2sVOzAQxX69nU45w4yu8AJ3C34K5aIBVLhBxvr1uxxUHwRNZUIRwGtDimZvlj1XTsYijT4LpDXjJGMG/vSSh+iKawKZos2W3A/taVQ3+hWM3vdAaaFzfabnKYOIyBH9fj8i58jpAluuEK1fiRSIadmVH1+siMAFwn81s6zQvM9p9J81JawXKQvqdEasRrwSZ7/fGtmgQV1Zpb7uxJtLOkkjOdsn1sLs/fim0Z+VcJXZyuDPZMGTPO7D+le0PhClNjWW99EzNCO35oeobABARR9/2eW7KPtfw/ecsxnUImO4mvRj7sy/SykDTMosCAaIjCIyLvAPNhW6CPceKQXDTBvQ11bpBmvXx4J02RinGEAndqZFiX14L2ti3R1NWmPrbdXmBTybgOGI4L93D0FTH1dAZ6aubyWEPmR8/Z/p72adYI0l6nGVtv8TjkRSqjdY+g/bkdsgzE4TJTHkPk+WH5luoKvDxZgm6T0EVGbPjRrBVfIGYMZ0iXKouFPDHvozBPxCYO4aqeE3qQrux6fVXvk677mPhQG4e+BM4hzkRNiMrJ9+JEJ7zihA7iOFu6wWAWa9iD7mFerZMYiKptaDsMwJhNgYMH+Izd7J+bjmaosQ4QLHwVq3efFKZlQDJVmJRlK85EyiYLSOP7dhRZsfpiLtydaJ5wyXt4Dty1tEF7RiWeQu4+ha8rtnBvrnJwoY/VHkwNGhALLaPEXJ5C7xa1TAJ5+fd9EYDO+7QOYPCy/upOjqrl1CU7olDF3AnVnV4hanr5tTsk8n8OMQ5yaL6s1JQ5Z0XvUv1+4IPjsIbWCPJ0fDU5QEsrLeuJV3MjMlRlZsv4LXsD+/n+hVYtNjoziKBHvFMJ9QXfRLnJh8hF/v2x4DF5nb5LNfg1qylYdZ5mRSUIJoexlUjwquPVGTqauEiZ4uE5Qx6/iAWFgJ+4liIIiXYB9VOg4Zav4PhQYhmmsgfD04OiuT2bNbbb5nfBy+942oZju0zQ6uqbxw9ndhmM+pSPKmgyEk4U+yv/9o939virEqoG5NpnV8jPZOdSFjEJbW2E17DDtRtRkTp9zcj/tYa4LXi8WeI/yyObIPWQe9yylwtQYflbbPXxfSqi4Ev7XoSApRaCB2YzKOLYB4BzFq9E+kl3CHWG8I4TjdH1D3I1iN4vm9+KiNRfaC+YKufJlSjQZsjAeMG9Yys7LxVFCz4VwAb0dPfYG7iGPEUY56onGopWasOdt+Jh8juRXQ/bTznO417x/8iomakeaYIn22DUcDYuaqdzkTK5am8ZpbiTKoem+PmKQTSzcRluDmNWP+KjOYnbYw6NtILO7g5X/BhOZrLH5ekGoVhFJVLoeueLLwUKaZ1f3YX5zVO0MjFw2+4Ani66fLb735NU1Upgvfi4P5RpbeLZhqtGgtQR6ylY5jiRcZG+xIVCcfZkj8aPFUswUUUCeUB4ysx3ntkK8t7BVQS513eaq1LzH75genGXn7AER09PBY4bWrwRMNtew+OjZ6itjNz0lxUX9Nrm3UPw9MxQ3KMe858io4CEUj+GhUjMR9UWw8//+t8cL7HLtW6nfPmmNXnJnriGiWWWbS7BwB/YpnOU6Mxcx2gUTp9vzX7KZW5YiIdggumuGN/KiYc0Gg9hahblA/07sL+PvQTB/MKy0uuGaXww+A3P6GVwBRRpYrgIbzhlSYMzE+TVV2kpykGZ0XdpxNBybbC2QoZSpkdRKHSU7TgRyGiX05Qur8hLkGRsYSbvQ4pdilO2xPWA6pFoy8rfYTNpW5ccmPUP2bgeE6KRG9hnlbFp+l84FOpMyHD/fqKNyS7q48/IYtfk3M7pXBME3lpldpL5IkNH0LqR8py64ljviUSdKvOxLfiN0olxFLYudyJKie8qAVkigyPX13lEAmNxl+tVIqrn+8gDXEV26id4ufkgdsMsqd+btXp8Riw0NK0JO2tdYQN3SSj6hraSGiBruVqyl8ueVPmPj7BPS2qRuEcKq/aEx7fiXahPm2wdlyqSWEvxsqgmFB8iTCYKRlZur/4a0clh89Hr2MH5rPtvDx99XfEP8PIknaHofsV3MhDPsLHif+yHZKUidzPzJe1VBRcL7qpzh3zyTzTmU/YG9dVAua3qMYwPlbd7cXBjbnbN+Ys92MUjpaLCt1wqL3Uw2SAbXvWw7aKsVmEQ+rCuK96LPVH7DHHCBaXs10rBSFwVigwhjLZuEW/xf8R1u4SlzBrw8TrEOflVxs7uqoxV0sYFCY4pUohE5CyhdVem9ILocO/E2VzDbzEQ4kiL8fyAXCbpFtsxgaZ3xWhYT2/Vl4G/5jhaa0htikNB/R2zWOeNhS5yHmZiA+32DOEQq9dqwHiTXaqh6HqVDLeIjBrO6TQq+towcCOfwI4r/zEW0ZGzIk4WuW2xj3uXqrKl7uIo17ODL8Ub5+PTdN4CDXvHcZl+RTnDlLjUkwlgS55LwzzMrmVUvMolSpV4va1DzFJc79z6G3fqNmlylqJB9ENApDj4Efbcn40uQfpSvRkiR0bfb9bfoh5l9QNXA/Hc8EMeG72uWTNNvG/8blss7VDfQqVFU7iIy9uFgz5bNJdeTxAfDrySuiRDzOo6bwiChm19MvOnSek3mGTF2C37faud7lXGxxADWloOm5tmB/IhST+EKs2l6pFuUEiVsUM+z092DxkpI5NtfzBTzB0dM7qywOLIMuqAZ7+UD/NkLx/W0/bt2l0RHnnim+IRkrQuQk+a526xOySJ9xCYo3k4jpy2AzAvrj5b49yGIJeDFbSHo4SYc6SSOuZDplId8kTzIj4pmrMXpOFgW9cRpMihJiLCPV8ycK/0v7ysvyLsyxUIvJJNI82rgvkrcs+jXTIOWDtW9c5Rt2cam71NJokJBx11VCvESl1PILSUVmolH+tWhlEWpRgJbMvqBUt2g+YBciUc8vUg9WjX677No4KS7lC1v+5uwKXaA3CiGboZ56eFgVO+3y3SqrI5FQC/IA31VQmnSGXwFArOmGGv9TSj0GIhxq2qU2JIFaqjBiqBdC6TWsqFa2aSFqD9Qh715IEfS9l9S4RyJEfgy7DvHWefUi0lyRxy8XV84OzGfU2iA7ZaVcWVlv/C414ONvDZwzHcX2YYGANWOJpHusU+246dwww0c9bOEOfyZinyQQ8mnKHA6PCuzICT3bMNFc6IlujuoqXcd5vvD3D/ebbEp6LhrYvI7DsbY0vur7Oipd6zT7HTovvRvYYdwUQUbgL/Jn5WBGIDDB9U2brmzwdr1MaAa3b8mKB0nd61LM12zooP3K+5gq30h+yY4uUjWQH1j9gBmkoMUTObiiYea7L8S30gb+tW5BDET/VJEOPzMujog+Yu4ldtaRmVL1N+VNafTyCK7Tr9EzGdPDmtma+mYT9PGvDihu7kP3754KKLf42kWFTL+QLKQmAxUZtK/fS08lMy0P7BxvLT0MwG2JZXMCYSoMdfwSqjSK78rL/lceUH/gyslJ7mDFnVfiOnwlwPNwSC8dTpsbXXqb6jaL/slw+MtWOmj+INDzKSKgCSmqD0BIotMsrQ3JdyeKG3nD8J6s3vPDF5uLFRDZXhhmJkfNjKyt2AyK2OH+p2n+DsEfZxO5EE++4eP5bS7fmW/trXRenxUCDT04busxXYST6Ixm5+kjJBPNQc4hRiHkU5Mz3ba7GpEZMR0/6DlMLXN0WuL9CBH9UipUHhv5+C83kLHK+gHzjpHFH2hEkIH5LKB1jDUGXPO5w4Gi6kJAreHbI82gy4hVVqvkH2tUW5BftvNfzASA0/isNoBdqB6ElcNZC+GygiNhDINu7I3eiUTUVFfPYz+aplXpzijq3+JSxP61RdgrXdPl1fSKLEVIieqjWX4iSWfnnBH0svGXvtEUZGoUSSREhL7wnflbAWEGPhZN7Rj6SQ6/UYqj12NlaEusLyQorNgI3fAGsBzamwSiLKaZTocuFM1FOsLh6pjcExLBLH13aVUHUW5cn2VRMXUiDBFQ5khISZyvaJ7MfvRBejNIKKQpwV5YvVhzC7sm7aCUlhaRP4Qnljo4arwoVjxLiq9Z111uphMyaSIolLj2QvNBIhciuGCX8Lu7a8Ohl/8L/b7WfnJ6aJeMsIoCIWTkQ7Lgb9LfCaUsb//2qzXiyKouJNT4ZYEnC5BisLzZBMRSFjupw6NiR7VcOHSzVSyXfl8WZeHvv4pDRVkTgUgRN4UayJ/bZIGitOaUPlxEzUSoylFaef0zdAJy0WVgcSasimnuvcnUexc1VH+Cv9RYrXs0aOdoa4Q+7tQIXgskiVl0hVkkcqjwqBkIWkVr7+InrbGBSErwwQdAeZ6CANv/UqjmbVK/Oul4sK+YMwHSkd4IJmT1j/mSaNZOf3saDq1GFajIhX+OD0IampkUUDlprT4i974zQLvFDdK7ONlaHyuaZmZqgMGC9yedEI2jkAsUQFTdWPPOH0Sa4H9VLuNKe8iBbk5uqbMr0yrg3VhnxTwfdT/oHDEUlWBynlJCvMcbe4f1jBCks3VAhcRkeo7g7Qw7Dgz5Z/9JyXx7MLEJlSt7ZS8fm2zXOB1lfv+O5YwX4VagOkjdIdKVAANZd+wa4BHjIcizYclbDbKa+Sb+3iTjhOm4CHO4obj2V8O25gXlxWNcZSc6HCim6NiQGMTs5DSoc6xExHhmb1FhPonySDXseyeGV1ZUFbSNJkUJSF/396PT2h8AoAl918fNMem3WJflDqiRHOQ4KxZLyWcgfdyhWLAPviqRKBQvPEMVYHSVGl1NHr5xvrzBzU9V1g63bhCTEQJW4KmyPz/ahjT4FMbchoPvjIEYeQPgzOTQLs88EHGIas4lJXz5gsvuONMzn2N0CPyCMacU+U2ZLeqjwdgeFZq4Px7fpmBwcF9bPW9ZC09d8B2PjBpFygnYBavK/Qo+yMblWTESOXv1HNGqaDZ2Raj/b1ke+jmxf86nHHhMBcfE0i6LGGK66aHkGNXQ8wPJRwNAh9iSVQaQwiB+IIFfGFqsKFO0CUo2cerZP5DpR49u+BCEX3QmvcmQltp9CG8r+I02eArQ9zEkBtckSUnmDYW1gIgEP8MihUgKxw0BzHmap2RXaPxo03BJyofnbA9I59Q5+iGrTl4tpFUjkr0q7A8RAoBGdDmjjtz+YWjMyQMwwqaTwfOEhgUXte45bnmexz9peJJekPT8mvlnwBfhh8bDIut5zxmBNqmQ/QNdBvJginlLVpjg3HcmK9Q04+edCLQzEpXBU3cDwQvMKWF/lsaNc1SObnVdxTa6VKh9OKuyFAGaWD41DydkPWovDAgTZyiEmyqadAhwU+b8Ns0JodwvHEiS1oU/W3gQQIDyqEmWbwQuoxcfTre7zVWaWb1X5HOA3kL/OtBJaYPYErnWT4uqJ1zuLQjQMSiGoD4BPvTmjO8ELSEtomx2mfKKzA2TAxkZKt/qrn98SCCTHp9OAwbJc8CJXV4Pz0RXUHl964YtCO6k28BRl2Y3W/sgPgQxFxN0fHa+shS5yvUI7p8xqtHRv+6p1+bnJOv8s174dpn/wvJlkOK4531cFHBAT4GlpVbk9TlGZWFcbh2jNp15kdq+r6txraG7KJOEEhKpRFWQ/1AtQ9r4aPeZswvOxbNAvzwfrHOvxo8hhNwZ+GG2HhpcGv+qSy+0W0y9myx89+CFXYUixMiF8TfDV667whGVnofHfGZWcN6SD70sr25Tkdy/t4KYfdhWAUWDE2ed6sc4fc4nPHnS18Y3tZJoZIZk5WsCb2JOrobbyV6BdpnLKSCMs/fpGsuQjYA2JeCZpuhu1zhz6mU1mRje9K6xYSBVvyhvPtpPUemvVmB9NZV3uSZFwsNEgoPc9iin2uVvO8eLyIHSsfg3Cgy4f0NK2VzKY5qcX1iZATUNX157Z5ABOpH0+XILUNjp5dryIBjNvlx2Zy29nmwKvI7/Wkh5lE4jpWQpxv8iUGsIiOmdst4wXsvE9uo0/wfOHxJ5d4ZILSOlwM/JaPNwlsunkk2HIzUDOEwtrKx0yvsLgltJaB4Dqp0W6G9ulrffdFTqfVxdb7b4rYAjQioLwxfoxAIo7JKcTqo90fReQtPtZhpRcZqe2NkvMykp+Aw18MMQq4dPZET/L76dGVEnP0ry7rVVdGgdlVCMs5Kbm50fN8DOwN6vvuaPL2ontqLZ9b6Pp0mvl7ISr8ez4klwEYasR9jWQmBWhrGCibz9KYT7vh9UPTRKm2TaoA1cr6Xr/HuDsoY/mGNXyATSMFTsqDQaZubBDxRez5yKeGShrnhaxdl5gAiCsGWJjS6t7eafUppQIBGAbS+QXHzcG7JFMIsmUuCGaB3bPJhAmsYKrHPEDyOrXfy3AuMJFrM7QiVthUUvLt3zd/sFWfhL+Ny1SZIBynP5Lhz45PFcjGs971jVO7szHI7akQXv/ZSzKHtRSFLNcBSDwUMwxJNZYjYGQ2/IX542ikIaLhWGTPpDe8Ct4WJZ9Y56p85s78xgZ0T44FhF6qrBxkz1iChqMFMuLhsOUz8cj2omRjfMeG4G3/clAKNH5jFGGThR9YwGvn6jmagLVjF3tqfyxN94pBatSELd2Xbj0UFY3L61+++W85JsTgJ5ZdtwnGdGEkipBmyavxn3Rm4Ht0YiLpwqqWv49Ycpvxs/pzDkrJvO1nlVccIt2ic3AHvCUIPPxDEEA+xbuDWzEbL1sohyK4+NfRXdmdtHqNQ1MJID5XpWaOVsRqGCkXwlm4xQ2yC1Kfg7tTUTe+/IcthZ0/n91jItulPQX4TjtAOss+tCI/AGLOBnN0m6X8qT0fdPd5qK7+kcqSuusPQiBS7DzmJH7L4cMShBdZvpo1UaktctW58+Nuc8pkPd5exMWlmwAu1wA/fG2srHDepNTa2hK7AYx8MH02yY9Fd67qyeZF/4I0qpFHoTN8/aBBVXvpsdIUREpP0e/V9rfHv/b6QK7hlyhRWuJ0QAqB/OwOzpxK96ilE6qxAn7N8j3TsJoCcYbMOwXj+3QOfi5Q4QjUPXRw3Eq+oFx+E1t250GClfpkRB39uWxPUbR7aVx6A3AUEiKw4YRk1fTB7W8KP033qgJcvg=" title="Mekko Graphics Chart">
            <a:extLst>
              <a:ext uri="{FF2B5EF4-FFF2-40B4-BE49-F238E27FC236}">
                <a16:creationId xmlns:a16="http://schemas.microsoft.com/office/drawing/2014/main" id="{78E8773B-D4BC-4089-AD52-1E155E6A40CA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5309420" y="1822882"/>
            <a:ext cx="3344938" cy="4560154"/>
          </a:xfrm>
          <a:prstGeom prst="rect">
            <a:avLst/>
          </a:prstGeom>
          <a:blipFill>
            <a:blip r:embed="rId11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3359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08738" y="188999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US Yogurt Market Growth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104D8-6F34-4790-801B-CAF44F89683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577264" y="6489709"/>
            <a:ext cx="222174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hlinkClick r:id="rId7"/>
              </a:rPr>
              <a:t>Learn how to make this chart</a:t>
            </a:r>
            <a:endParaRPr lang="en-US" sz="1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2EDD9-E367-4784-B3E8-3C5DF2E0AE6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08738" y="6489709"/>
            <a:ext cx="66645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Nielsen as reported in </a:t>
            </a:r>
            <a:r>
              <a:rPr lang="en-US" sz="1000" dirty="0">
                <a:hlinkClick r:id="rId8"/>
              </a:rPr>
              <a:t>Wall Street Journal</a:t>
            </a: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08736" y="1036337"/>
            <a:ext cx="8446195" cy="685800"/>
          </a:xfrm>
        </p:spPr>
        <p:txBody>
          <a:bodyPr>
            <a:noAutofit/>
          </a:bodyPr>
          <a:lstStyle/>
          <a:p>
            <a:r>
              <a:rPr lang="en-US" dirty="0"/>
              <a:t>While the largest yogurt categories are shrinking, Icelandic and nondairy varieties are experiencing double-digit growth. </a:t>
            </a:r>
          </a:p>
        </p:txBody>
      </p:sp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Fy/KjLWe8S6F+PSoMieWfmB0Fi5/bQQMhs55JekApiiLN+jebi6TCj9MBJ+rTKn9TzdeRMFQw0MiTKWe+SElwJRgZZuM2/wrfxuq7p84LItdhqTjpNBsaxBjSjL6IEQcmBpjv653z7s7NM06E9hhXaCkO8wDCvedIMi7uUU6pF41PscjWtGOJXJ5oBo0yW0TeU4bo+HTiiilCVjBNEtLBCSgjyMoqCo50KaNCa0r5vhrJ6Ahhx55pOLU7wcjXYkFEkWJlwEz5Cv0y/rvsqvVZxZaiAwU53tnN1hSVLZah/opyKU6Xo17JVVQV3M0Y5+NmuCUyY5mRlR7vdvgt5U1oAwRD1+1RpSqE/rxfhhNvrpdiynOWZcsUs8xuf1jarx/wjCBkXZMc2p7BkiDCq0ZaeKHa1e9zGf7cJVoT1PJgbBHapVBx9aHuvPTpHNhV1g/NpgpZUTi2CUsT94c8Q56xqcnWGep2pV36zWtS8H877SAl4+jfszQJ2v9kXOVsu2rE4ogdTGXBV5nNm4CQiGg9rey1qye5LuinqGk0WL/uLX41+zjP88qCI6VleTI/8EfJINqaCPfuUyIIyHlKaGYhZXpG8rUuq018qREskhU5mmHYHXIWTwujEkop0BA2f57cpV6uQvT2LvCT1rDOHo5WwpvUh0GKOGeURz1tM/wSRvoBRmTiPCI7OyVD8VGPfS0chrwbmBGV6L7FZCVaVh93CnzkQNCjUQbYsdhqQw5sNVvudE+5HGH0ZvhBzdvZ1B2pUFJxu2urPP+JdNBcz6pozPuRHHp9/c4UiJs4TzO7lH9jcsPFcJJm7D6xOrGW24uuGyd8S4zNGvYtqD+1mJpceNWfJ1cH2QVDIMaZCHzqyWrOQVOl2/CjDUnen3GWzxQMcixwhVzyaeZheuePHxQculofD7eSgSjTuiuc0GcmoOESFUp09Xm6LnszmyozDNlw99HRwXKCsU7SeNCUogIK67+U2PXNR3ZyIlxSfIahoXAfNKG4P4rQLs//qeaoAIAwZ7bTieCvBwa6TiL/Ij/QNEGmnsulBhSysxBc52Kc+0VWRy4ur0JASJ+6PaRqazPQRsKZfbvTNB1MiOtCJgcEw+V4aIErkD3Mql+bL83s0j1UROTVTx72Ye/n1wAfChdXyiUBY+Tn3a/FNHrhdFrqjQz7/gt5sHsd+cqfzd2CRWE2bPDxSURMbM2UfJdmNuBD8wTcB+JjhdoIzAUDZJasIcgn9tHgdqwMvQ27Wb9XcmQlzjDiZ4LInqakLrA4Yin/Ic9rA7MfRDn8bbyRSoxzBr47ttNdXTXkAbCSQRh5ckZNb1w/eENwpfrndVbBTAd139zosA6ctbqfhIOD7rjV8mP+heI/jDy6By40Uk5N/YhZcxs+RzZcEZrQbYlvOyuGHvp98on2cAxoH27VUp6rbiFEugdbk9BSvNPPPus/M0hG0sBtIyBDZcPE3EZK+7+9ZX5XuBVWcqdUe6Xru3VCsbyOS1Dhj3O4Qh8g+a2FPRBPlfaxP1b7KEsheHaGPpXPasncF8WE8cYNw77yFsOaqDMPsJMMC1fSXvLwLVVCSHcWt3muBQeKyC/kiTAkygPdE9u18uXPZ5PZ/UsAj0LZbMBYVsG9Wq70pNRNHHtpIUzRkZdaYb39kQM3V1GVJN+r28JdE54GOzo9wV/YRGKm4iOZwZOm0Y+XzECTNvFNE+60VZCXA/i0UnlF2pqHPei9/Uq6zDUJbKX/PJl5PBrREJFJudRtt2MHlF7Gwh9mF6k56nP/E3teyKASN66dPG3AfCQt67/ZUAhLuFME2EHm1fp5twaq9/OtFQk00A5/XMD7jyDNFOXEqExBuNlq/pLsgpM5bdZA8oNoqexuOX2lOT2dGCAripqFEe2XQDmHTpkOxHMSo4aEnBADv0DnNCRx87qkmAyB8ZnGpZ63RTYjzy7RVf+iAuVQCsfovq0K2mLNm9ISunWkj5Rs+os6st5UPDQ0yv0zSnesFMKhKx1p5C6E7YKU1rNDAtP6IuyhTznMhYnIOlUOxPaKm2F9gf73Qmr80lt5ufsqTQGggMJh2eaSK3QyEhcUSko1RcNN5emBWoALJ6lQq+XGpHztbAdP8Hb3ydxV8kbpV64qOmyPtOcNdgL0cubwGLhNBSAgBcuPIU1/NrQen+km6Vn7T0lBHRO1m5u969vl2W1eCgVv4Gmz1LQhEMN6CPIV4LqyH/AtrI2kGXEEiTo/7YtlQG2qY2PaUWQH7dXvKsNycpo8b+BGopCqf1H2PeqBuyLiiTg4IkYLP0edVT4KAHWF/A3P+z08dj6HOoNNqkX6jUEvrOjIar8GrMbnNhh0LPqGPBQg+w3/vMF0a05O5NR/VKMfL0Fz6qTLWNSEUB5EAud1kWs9sHzHDkE8gxMxwhZ5D/UEbP3qB/YTS//nZsvnFrp/W0tPIiJUitFDQnYR/iQhrhQevewXJKK/7yTxQgYrs3j7ieVVC3OYP9Cu+uORwWU2uLjWNNwBclgFf/W3hAQvIbns7fKuFt3cVwh2Nmr4tUgkSSRvneOLnKlIzXK5V1I+Jynb92Lwt9PekCeyNM0B9xT6yb6eiAwnw5GwZwV8XlhV8ZWcW8QgdNyltGEizzvew0k4siVKFvmvqO3mTAn740GYTP/XfZj8+vYntkB0a33STNApbJ/PIop4+dzkuFxp0lGssJr8285dN3Fcwxzi6mkhTTfhfhBRGgUFAaBRyHZIesdGTrZhowiGFAKUrFF3W3YmGLIk2pdLj+UITacqIMAFk9Ndk5UjMuWbRgs61HyFuKX3MFvUV7pS5cyhJLhTnm5YwBTAJ57H9kdbQq9StOK5va5uYEFes7UGb04PrM+y4NbLbmjKret9Wx5mDhg2sy9NqBIm2NQncIENPOoY5N4LIikfRaoTxQqPp8TWU0smyn3ms5Bfpm3Fjr54RKC2zUi7c5EKdV3wXwiEZNpV0QvesSd4id7sgJByju9G/Qut6u+iypQ4KjSrawnItIYtp4jjuUM5q9uw2MxkGLMoJ6JWraZvjDb7DHqLI3YtH5hRoqylhJ+tEY5W7qX7qDMl1iMOzzzufMYX1717tVRtPBl/ZPuxof18OJ3Zd5FsOkR3KQBgVZS/uOSoajJrxp1QHJfADK5F7R+PVyp+RWKS56yf4rCPgzVJGTd/tD3uSgYpETF65TxKJ7/Fo/lQXGQza7T9F2qZltzS5BJo6zPnABnsaUEjRZwXTf0WB2V/8ab6UgPTTYMYOfpWhP0rLeEIINtd2EnK6YfpmB5XLolKKiuXSCLCSdG1YG03+f3CHLNjp27jUlrppN4s8Mj/VLwvGLZmp/MYHrkga6c5R+p22qosQY/M/SagrKEZ15qLpRuPBoOhQBix7/JAos7XAG3q8b4rZdsikfMOBsT4dCEjxSbNhUoq8kQ+HOR2g+1zgS5PfaL0rTAvnFh1KDXhkXKVfRUOoiMvfo1nbrPqCtaduJJOcaCh8JHgUeRu0cq6PL3IIj8iygPM+6JTdVkZ1chra1TP4Y35WPChldzzp+x4m9ghyTadmpoC3bkNuWjTYII24XUMRT8wDt1BSPsJjsgyINoU+Kjo1hE1o9t0zfKRFtyv5TRfndSicRMLZgyBjD5cKNER82sRpZ9nSv6y97FZPj6Diy8Z4jJIyRmGkH8jgRFutp1Q3T9KtbxCkoqeR4kJyJht6wMVDkKfNxMjOJ+mUVJFPU/6/ZdWiM6kst49hVBUwBOAPIRD8kc15K4e2oQn+TydGe2DmFc4v72tHQuDFWGTvcutToByHdqjiEVFzzclaDngdryY9alKIoGGTTzvO90GVkgBoYvc7N4GbE8OzyfBenGJdXLvqWeK978VhfHIPPlSHF+2Q+ged5dQY0LTqyq9tW7/+yBBkj2gRiW0hhpL7435U6pgTV2k0QKD6KzmFjnNIj1/7pll1poMykr9Xepx6/09fUP/e9Kqxr86wbu9IkBfEhVPacweWbIMFluMA0fC7LF0IGRs5jZPd+xw85Jvaiwv/wVttrm9VTK3Bozyoaw8HmyOS+9wwu5o28C5VXJVrRKk7yDvMmhUL4V1ktiB+k91pD+HGsCdtdThkXTF4vIH8Cfystjh5sQMyy7u/nowPne5wX8xeONVm9KgS5AaYgWe5x/ZkFYnuWH68aZtbTL4yFMCuHjI9j9iDYeQla769k6TNEmQ6ilWerifuCwjft2tUc19N39yx0YQFf4WyKZ8KEYQonY/WSgaX8mCngjEAQrllmBeyQrbGMNbZdxK3XzwpGH1vdjvvsdypKrzaYcxuMfLurs0K3FjKuyuMIMeMzcdkSBwUD68dNAMq3BHxB4T0zdIrBW/JrB8CYpw3LejK9ObV/kazUO01MPiRsxdWkqjtFKzGZ3N6WwQl8aTnsoX7OB3VuRb8wp4bl6E3QqaDv0bYkos+YKTMuEmuE5maWNp/spaop6jgObmeFDbB/iwYVlorSWNrA4eQxpdphDTVZhUw2dMasr5qZUHt9MsbxtcNiNm/rlcUIVCX3dJLX/uGxRVYEYGcluD5p9bFmVd8pZxGDbJVbX9K5Y9UnnghI8TgwoaHG1eatTusvYLUNx2Fvp2U8WIk5z9ISw8eVgoT7qc5AX41NUBcQGG6KbAa+hFbRGfYrF5v+slVzkAQLJ4uAsvj4xYBbciVEqVVSHAYver4rE/3fT1HB8D1nGDHo6h/m79zZ9cp8D7l5s6d2Db/fcL5mdVj7QIzXi7aMuKAXIRLRoZdB0xdr36fq9lBRaQZVyXoVnAKZttmYxR9OR/YIwzcMHO9pnp7I/TneelUtOdz9lUOZ5tus6f/229v02ZqC+zRXJuWfizKA+Npsw6dz+s/Q8KXEv/j23rCGaXZ+wf/cmXkuTH9SVIq45lj/rQuxbWk0Obq3K77PlO15OS5KBc5yRWb+CuxhBomRU6T6rF+yBRIi75uhNflSuUFs87+MbDABjrB/n8jg9V8N7WrrMgMRHXdt1OwJ1Lgbqfz6PIFODaPkDBoL7H3nf8HEJVWuT+xSYYpFKpIUfhdM8cvWWmNA5XS4j00h4qTG//A0UMKOnqIGyyd2zqiV3T/bnMYwMFQ7ApK/jlBvf+i+5GlkY4aWD/kYglbYxchFd/1Q+O63dAcRGXCLi50i4G/MxBjqpdRrBxGRpTtAjJsUUmTo/+fxcVqYM6vSb8RTewokwXf8OisrQabuKSBLAniXiyGmsHS6LVv80/OzEiAI80UkEZkfMkhhXtLIBdJruUZIR0/NAqR1iNhfwbKjCfVrOZAHvM/p6XBorOJorFRn0KMcpvj2w7yRsZrqLh4qlSWW0/evjZSVS/0j+QaofKpmDVAoOjePoz/IW9+JyTzj/HI6i5eAFoalHDULX+Xb2OfkfGX5n6PlF57ykjZuvsA6bQzd7uhtoP4FYs0IsXQQX0Jw71dHHFZGLQypxmT+X7BZSguh2aQ8u0fSSCCsvqUEL0GBcsoHPYeh1gVEMTO9w4McjafQjC8NbKT3rn02rpLGk1sJgQK27QJan/YJCMbtCJVqhy6aGrxiXBWoaf0J59SFF1Q0EdS0/qFb24oGt9MQG1jU/ZCwUuuibxZS+R09rpdvFASwMqP1DSmiKFXJpkuJIQ5VpboIV2ABnuRxjSCgQXh4D7Liaal3+zbvx7OtYJ2dZxdVEJGo8QUK29hXR2IFiBwiXbypmW4dLHxCG4xHBQVgEOmSdlNuPYVcmqcSlZLaWuEZF35zr7m5iGDUls3QuVOQoaSnJ43etFQecrS55f1EZ7LvwTpXl2+1uUVWPZro1xV72WAMYI55Bm1v8CI/nRyqNKVWKs0jDIvuuq6ta3fWar6RLrWmVNUyFXhslJYyOj8/kMgn5gnu/M0l/s2V6R1Xmut/T3KniztB49n2YIt11Xe5XofBXqWdrNbJGU6Ja9+yHHybnNYsB1/rPXJdDM71bCQAH0/Nsf3Ehh+GQiMz5D/v0Dcvrrr50cKy/o46o3KgH+zQsVQR/OVe7xadvq+2j27lX/VPfmOzZxCtBnk1BL6gFNCrVKiEdkvIyaiJKoMRZANKR4YlXfK1qTa8maq3ZyY0XWk4ZcP6nyrjYoLBmB3XTM9S2MTUEfMm1tJqMJ6f9u+clLcr1ks4rPZ09XZTT2BqKwgz2dibys/YqvwMqs90KjwZWPp3QCgZPqADD2YjHWBab7kEU6ym4abhFVAhWfQnZW+nj68jWBDGHwOB1lJfKQOtRvSyM950CAFJF9v6SWRdpiRH2bwM83WIm5JluEGTPC77UMO/7mF4gzY3wtEMhP7074dbXoq4uwCvC9c5pwpnsk5qAbH4tYd3LLQGTjTWbwCiJtYzDYxk2Fr2Fqef9QsGdVF7Zjf4/b+l39yJYifZOB0Z31TIQABHPfVaE+KbvDDt26zHsjj47gylaiGYCqyY6JdCgspb0GxdVSbtyQ+IVYzPNtRbntLD0XDfBzfESz/KsPiUUdpywF47Avoy6iv25gTbyhzzbFLmOKWOD7MGQ8LC06aVOoz8K6fv1m20h6el6+rXAza9oGAtCQrm+O/LJSsDtYNDUmWVuPQpTS99vBdf2vvyLmw/3iwhHpVDSI7ustRAGXaDyC2pBVjhjpWSer7cFTaKV5u8jd9MQeyAB4Ob0QRltcK4X434mmpn1qnSHmmgj8T/V/f4Cmd1b7UG09qtIi3tHxpSdd5bLX+M8HKpk8K0Vo6d1TdEVy0RytbXOmsoZ42vooPWFOxYu31L1iWb4o/KkiSuogbfB+CYSR87DGR3YpBaC8SoHkgAGxuO+8BVopG/ChKu5HxShqoaDbT21rzXRe6tmQG9vrn53CEXmcjVyK8mG6+KZajX1xX0EO4xOkVHyVmRSHhSMpOv7v7Rk8SUgf5BMU0rQnrT+F8hxay8SAk8gUJwpPg/R0GEiErCgp+reLfYdLio3RwUeVxToSj0FywjMaN7VbFUzMV+Mb5MD6qTpJKqB+jLi6Qe3Ci3po8TKp9tFj0ARxCXnoYvFacHOzn/oQ3GO9QqkXv4ryu/sJOGrwJklSOR56CYvAlk9VLmLx5/pEm5CHRNMVN0rFe4mdL6omhrQE98yygN+B59zFN+uzptNauFoXfzlFU1YlopnIWUJL+ioM/FA8F9ICrR4/FfisglGN0bitQMGbljKas14B/l5hLqQJmniuU9Xw/krj8r6OUzpfeznxEnC1dnw0xBMO1YNPnj/M1toBe+brxuV5+uGNfBl8eiBZadMP/EqxOGSKgQ5JgA/tUqIbJJ3/AgYy/VFT23yfNJSkgjlIPs9ZO3nTasMNzxsWJTxsvFqs1FF51e+lAKE+iwO8scuCcBDBs0MeLrN0P6Qsjo5AnWStO8OBA2jOaOtMYZc5GriHtj03U4D4xbWVYQpIzBCO1/waVFJNhUYzsyc+BYPYR4rnl2z70h13bRScoR2a/3RmAc18iSna0DEomdzbr+vKRgPPksBGM7mZrRJ09Ks6EFUR82chCKIVmu9ppXbRmDSP+jGvDZ7yNDuidWSblklFs+8V9OK6EV8BaryNUaert5xB3JX5RF98jRINj5h0T9g4+NZ8oHoT6ch7F+aRnCPXyesIsbJFMHnf36NIsQr2RrskeJ68aDTSzKyZ79SgWNf8el3ASMQdq66ctkwFktrO2A5w5GCDfNL+LjJrwvP08qIqZZzmGhG+BlHdFpLpRhfUn3p+uJ0LaBIoh4x5rxOaos1tHLqLDHgjn66PjTMVMxdx78C13GQyPbqS894kJBMSnzbGbwrwe0zgvWHqvPoW6DSlkmcUFKIKZ2UwyMRqeU+S710dIHyUSnOcLYTk0jZOcefrrybV0UM69VVIR9cE3XmVD4jRiQ7E9uCwfmBH/r3lu2rfPXQysUe8DppgD5yUyYHQo54tqAdBBnvgwVgdSG9/n8KBexr9297Kq6YmHapLXEttE6LyYWpqbln+VI+K6ErHvz9ucyiMMwYIuxf7bdu08r466WEtNpAN08G5DleXL2ipZojI5wXn1KKo71Mfar6LL0TZ/JBZ1Cr17tpDr4QdTBmiHplyzxs0K0Spxn6pxOLvXVH9m8V9cp/iquE9PIUCck3KVwFDGpWLEuxnZ1CxC4rN9ImlQw0usr+rmYcYLoVqzLdHyiq7n03iXZF/64e2A7UeEf2WkFeDQRNkimvRCuvmT4ONWOaVgZnJfpYtqgU8C0j2N7fAqDy1bVkgCAhcl1JBAvC++vRHsHMCaYBCPkyTLwQf1702k9xnfIHGD+79GhH8A7Xfk3AgqIp5zgRNivzVaJ6NR5R1prowQ6IAjwij04QEjh/TCA6d09RTUzc16BUH1On5szFPjvMqxACWZg3w/03L/CIsPAzT9OkSnjPdaRmXCQW7CtkRfkm2AJ49zfEQdliSoqk3JTAsV/6/sRODow5tDuoWlTQ+Sy7efS+1MBsLGTiO3a1XYZeF9viYxUZSf12A49UEnB638MLI0N7OFNyva7yAzv30Pu1Hdsat5AIs67YPxVFpTbVSvhnTZiBoA4vZ27zutQZo4OHHZ1MublwOQ3P1hO9OIY6Zhrg/nTpUo7zk9+ehra6jN5F6a186L3k0wMs3wQmkXdTd+uyHt7CdJDL7+3yY/Fg8SVoE5TDse5qnqQ76dHPN1o6aSuH5bDlUCyNI234K615MGeavyt1fCiZWTHkdZg4KLhrQ0Z+A1f5rYS1cvs4Kitit2GY0Wd6Gr3rcqzMm8J684O3uSTHFO/7AfWqfxEP0ljh4paqqYBUfiTbh/O7OXdjGxnG/Z6BHVcGME4TrWJZgEcZr94d60tmPKasdWd32+dHnr2PVekH3z2hY7UQFbKEj4ioPptuTp68CCXZ1f4WbA6nTjgjb9hgip05RRhbCpIbbANTWBJrtyFAn3/e9aifYV6nMX1knmMlxVtwlc7d5BXqCvSQnnVMBKNgZsedYBNPbFNSbWt2KklwbIBhSNcK+85vQE/Rnli19scr8T3KLqK6I6WHh94/IXjeptN+CuqEuUDopaP0iLMIz5ozbf7BpaHtDkWUJSK6d2oBR6OUsSqOe5B2pc2jCOxZFmLoB2WRsHZiMFm2U0oYfFrvjrPQYLQ0WDZi7tsqmbQK3O+dytnCOYcufhc10/tu+X5Kd4/NopJXcDSKiuDGAJPDywkURb4gJdKsZZITD59IC3kSjqPdX19iJFsiOvcgZ8FbHx/wY35GaTp2zWuHoqk5VIfntjgg3/q6v105/OQKw/Qw68TFoToiCs6v3zjfz4RYUyRpe4dgs/yN1R6RW+rfNJUA2qacCNcCQCuE3C21Xxh2AJDMMAcOaxseJIsMSh3p20M9CSpM5ImdB1SrYpq/ylMHELCVacENfKSJ6V186ILhGj33FpeqSWfWJ5EfoP0vmOCAMdiwGfS1al4u1RP1CQ4Tui+F2+IYi3fHLn/78sKeE8QLgoPt2UtubRQwkG2yHO35O7vAqlRqxUVWMt0s3VLeuvaQUmrmutBStDg7MbGClY88lh3CFnj95Ev7ZjfgTJaq30So7Er3NvPmiRkdXlz3Qi7zDM/qbGNbhnbazjt+FMUVf2ZsysYfPvqoiTce1dC10TGuEFHlTAePWzK9Ea4cx/3XHQxSRW+LPvGg9X/ai9gYW+bpQY5TGeBVGJbfobLWU3C1GRBhVzEB5kM5N/EIktfsF+kWpiwLWNeCjndY+xoVSBNF0JpYaODFIiGyZrvE1X8k4Q3zWtf24zb6uAETBaobFoSWbLFl4Qi5SXQagvcgHDeqCg4/lwCVH7x28z/tkH1RGMGdqFAsFWrLe/1fPC1IsT1djNwyposyczU5eA2KGqdxj0uc88XSunakY+u0dCDfX4a/ufipB4bq1ExdavpcxWz3OgDsmBYx2Cco9J9dRiTYhNH8R6EgERieGay6uAYbKLFwwoRpnckSPF9bos/mLZXwr3V+hBbsfKyV5U9mA1+CBTfGsV1ZN73V2tZ1Gvy0PDNDMr3HkShifv26v7Pbcjl3VUOpYhnTUbdo8fg2a37jOaw0riocIQL8vBamE3nltG/K+eBTq12sdCtd/OsF2+24BMR755OSTrsQKbtIyYQBwFQOvfLIWLFRy98XRcPZxNahFMZ59OBWRSnrLx55DlsQFSPiIAuxDFSzhF13h/ZfqYFdOqBSbz5kCvy7Fg866Aw/DZZOBTyNIrif7YoYyWO3RckBaZDOMyH8KfFRXxFw8CzzwEs/tXAX5id14MSPBJmEUqmieTW6S8jEJYWtWQbwba5VTb16gzak9HR2BJ7EVL4zqBzPwl0uttWV2GAFkeNJLykymjdM1fbHgjnc+zBclCfms5fmDxIcbkyOozxbGDgkQRgQSFS5e7VZtoX9FyYQvULbSd/FahU6jkJ3YvObGQMfCHqM3Xey5H5mvjEpTG0jRRHQSARUr0dRQhCYPieTSp2jXbKkanKfAUka6VNiEYbKWupL5AfX/dleJIQ3gpcbPgPJippvNXufY87PGFQXm7zqnHsUoOUDbegL/8DEV9Oirkq0VmxMDTLrjCTsYmshysGD3HXPd306cxtkuwkfKNl/qhyff9X4eAi6FnGjtKhC+2g9XM4afXsBrQGy+bJJTA6qK8eQexrme0ZM/rg9XveztD3vIPpJNjd2V7oo1ew6Eve/UvaMIVKNalIYYInBeQaN9Y5oX506ct0NFrmLPx+Qpyw0559N1ggplVxJ+uNQ0N/x0YrLUXQSVWMUHnDyoLtymOzg4awp/lQuM2kQwXUQhSqkWzzvU5e2cjdAbGdsqqB2HlcOBPrgQm9PiVV507anB3GyhBFLP2V88BojSy0oADJmx+Qdt3fSn+assna5KVEo536/CNfVilaV2hW+yZGXqCEuHiUwDpiyvj+I41WIZexBo150ygyJo7ud7+PK9pZFXE9mW3nEgyyNMLXgsGVluZBif3LFr+Wmu5yzF1Weex6G2nZog98Uou08ZVvj8R53/f3oaGSWWUEe+wO9wl4X4cw3YWIdGwXR54tFmBQ6Ojvegij8pbJfbV2znqEFzv7jzBsz1ECb+xuSFNgnUomQBnf1DyJmutlZunRTknw3uEnrmTZzsMoEV4PyDLwN6D7My7j34On3acPxfgvERCDT1F5A3SFXmQtJHRvU5J5ZVBv8WEdk6scOrvLVJdf7Bgs9Hx4wBw22k9FKV+zUqxECRG4BrxvMvLnkGdy7ZTJIqLq/AOHZ/3o9ktkkdBuGy61eOCeLwDe4e98ofI/s/BoH0bJYGWjQmLEn6tG6zTE1W/ygW21Gjyjxq8tlUhDS2eA49/2VQC9ZJvwxu/QQugCZRWA7R/WocsdqXvWXBw+51Mpd1Ft0zHhh9UzMk5+CLhWJD+E9l3nhwt4xkJ9VdYcPVAVm2Uc5Ccrg8ViYN+0a4qk6poeJ/Ots3nCU31BU8R10YUR/wqaaO74gzckks5P4E98lZFWCDmpGlcnrIKJesLaqCIpBPjiQoLJpzLKXDkMQIa4ZYlOaXv0iN/IJ89OkVCm9ZsXzEOBELI00PA1zoseVng4pE27NzQGDouxlJeFyKt+60Jb+4tQcB8nbGU+QimKbUXb3uQ6oRSiiZ/BQKxDt6mw1/L6B7XKWKf6tRyPl05PJKhHopYDkQw1EpYrDXB+KnUu8pEh5jRNnxR916qr+theR3ew88A7kefhV+R6i8HqnwIGqci21NSlbOTDGRHqt2jZMtf7UTY+Aa8EHvs/1fYS49AtFBx3TGrA5bjOhcdc96yFSneXvyImolXX4Mzh6Rg7ludkBcBbpBTQbB5mLdWA1UE3LXh1V+Pp21L567hQYKGzTLN4/TQqgARU9Qj/lk0tb/tjOp4OJgJy1fqr2D09sRtZE5YtODl+U1UIKGw4c5A0R17rsK4Cuv4dpSJz0hAsrlyQo/ODfCTc2cFGaqzJfN9hHIeqmAaVLFvc2qvC6ZNFLE09U26OX0troEpV50sfQiKF51noz2MdhWLIYxjEC/VFBb5bjX3R+nuwzObGWNinqNUhsSXkZLhxHwJm5zfQDiQu9mSBJkj8a5WBSyMyKSKI9tiEQnK3z+nG5i/EkKMfgTTvcKaOYBKjzPrerCX5dsGXd6AVT34yICdlPanjL8Xxhbsb0MiDVqrIzGCqvV3/Hb1+Ioc6MLHyi60n3QoExAfdnRuDVkaES7PUYTj6aw0x9vwYZ0KHV+820MZuAKe8IIFVLpL4coR0ngCu15HyN3bqorOLWssStbO4rTZsEfDRyDx4xT8lRTA+LTY9YVAZFi/CLkP406lNaf8upRHJn2Rj7WpyNGG7jP5LG9rVNi/pCnRdJN6Yjz3N6VjZ8MgbwaK84ENP/RDIfEkk3qlcV0+h6K/OXsrxsUcx4RIT1OTjNlw+X6cCGJGlqtf8OSKGl5tszUwE66RSYb8mCZkyCSNEdNlAtkiZ3s78MOUD9Jn2cYdtSW2g4Y1hk/hfQg7QTZ6A/ifVdCu6H83kf9kU0bVaV0ISle+Rks5ysf6cZQvRfVjB7PvQNFOtC3Fzwk9is2kO6urc8I6iHbpik0rkPgdLY5OgNnb2gbnoVhJblBoCexwLQpMTAplJQNqto99f4sSZIfg+1GK2JBujJH1xDIFpcQhM62g8QCQ+fAN/GCP3XonFFHRGd48rmyLUe9sSdbKi/Jvk2mT3Mynuszjt3yWGYqF1ZbTyW6msyXBcd5HkWxSPyeRTDZJkWiG3SaaVx9aBd9mZsuYmbQFcIidlmnkGk8cMcHnoBp9mpBcEJT69NlYEehbav3N3IySAADGdbsfOZNGKw2lah1crYQERHyuPuKMFDhM72CZAZGeu7l06E69bQI0jHinr0KzGHQg9Z6r2wJKA4ugIP4caewldVL73m4Tufdv5Umr94AXBG1xT9+qK/83GdXNmkoFMPmTQA5xQ21ied/+uupRTsKKBbAE1OXTQjRi6ARixiJTAK9NXpFraiy1xq4KmgfKQcfin2tLa9S6MKvxgzklcwYKS+E9u0mAcxS3VOguM4yRYDOodynwhSwCOJ/UBimLtrntyq2QNVjqH0MtScECvrcFsoYkJ6xPSeNgChQdj5G2+sXtqjbQTtbYTMQhSxtvsbK1ptl67Vzg1m9hrTW80eHCX5SILMFEH5zySyaTSp7nTIBrdarZ1Y6SaVeWmg/z7px+3yMvIwWdN/UJvfqSIOTyaSEGcw7FgsWs24rCjcHbcT284QKrG/OQz8C9Lgtnc6sEbfIcfgKO6JhVYHeIRtxxDEg4BJ32jcqI1Ks+pGGimE6tbxgrw1WvaPiHd0vtcGHBEFucq44wfpZWjnxaO5XIr3MLW+5oPYzZIPfTa4LSELl04mh4CvGV33jEnGNGa08sSSksOV+Ge3+ZTkjkTO21bMMlQ9azeKja4v83huNqM46uimlgarxNpyyHRb1H0MwNb1zXBgHAtwQ65Wg7I4qFZBfXHVCINZiHmEbMC4XA9c4R4Fzes85fxgtmuvk4TSZAsGXupvoAffAjYuhUf+N+L/SPmqDYs3aGnIh5b8KSVPImdAyZrcqnthDBae+AF8P2X4heUvQTGxXEjl5Sr5rncXC4YwcTWTRMi0MBTjGnXlR3uMi5EmZ1l6ovu7pF3ZLnyPqpo4bKHJCJCzKydHo+Eg7HbGR9mWI+WFYf3ThWDTcCtXWPFRFchWDa8dD9h5jmbjRDZLM5Cq1ykVQ/0290F00w0Gnh3313K/WYwWp9v+cs1AMImjNN7XuaypvZQnGnKmcAaSoCsREtAFiyvHEfYifWe4fnLUZrVgCXVtyBAM7I8Y2CvNkS4+doUuqeou7aT+aPuQZtATeMHArPChHZlvggdNdrv5swXEzMmyBGRUlcWt0ky48ZYrCxsvwPUQWquTnOnM39QM7c0UZLsHUD3+cYXoxFP5DE9rhrYvF46zExdx0GAhXin7UNn/viRo5M1PlN1TPb+Z3P/cd5XL6oHL5EEvEMkd6bxuhW13QlnETSZo/4x47M3IAI4wzHSsasSeSDiNhdOT61PJ8r8Oy80BY1Q34xW33//W+3YCqjqOvFZaWAP3s8C45olAv6j19k8KOVyDhSyFnoMC36TXOncdBlMq7pzoZIBgpyHjeP5h2/52mA5sbqxLfS5xugsbW8XL8wy4yez6ItH1eAs4g6rMwKpe6sKm00TkwM6dOMPNfdY3B6oajt9JXdUEWl7W3tTXp9mqrGzp2mvdoAoIk0lMIiNl0sJHNHLKBaMkDhLKAE/yNWiZXWWTKOQft3M8naB/0nevN1k9pBN+0+ayvSC1nlFxCke2063FL42M8g8vpK2QatjdQJfFu8U3qqfskEH3XVtq8ItjtlI5cll2OyMNhG8nExvl1Wy/1a93qXSnod309FM1Fg6Bqb3s17uULphYNDIEE+VNT/t3iNOs/PJeZSbhXecpHEYpsBoctgJfMZkCZrEiNdxRzENmBN6WNf5rpebd0I1BbuJRWlT8KiUhf9sXO8tFFYRrDyoYfPfEB3luJK0dYpP39l6bGpD62GPYvYm4hJ4+KCb8VFXSclDLO6K8KLbB7AaaGlccsysOOIKEOpnQxmVeyuj8Y5KvARkz8SkhfHYAxRvx7JcvByLuF37Xk6PQ18eO6GJ6iNRufsLof0hRlGkmVw/c+DTglFY+cLZ4Uror5TNtyvZiIE+bJbl/uPtBzcGVipEh+uxtjdYD6uyKGxdYE17bC3pzPzGHPBae3X3mTXauxxh4pBwTE/25YavGH3+xI9ryV/U/s4i7rrh1nA9e7iA6Ihdx+1vtxhFchV3KC9plOvoIIgsRS33s5EtyupCXi/DKRlrmbmD/ifmd1tiPPSoLSvdTGCgUp9B61W2yq/NGvoH+4mt9CRXKRLqYxknI2zOjzjJgIefNWdqsryWPURNnxrJ9+RKgWoKibtuHBQUspK1jfFfSVG0k+Y1BepmZWYnuo4NC3BFfwVqvGoKYXSxGU2xgP6AUG35+ERQgu11mIguqmBL1FJ9iZyFaV2VDfFmBQHvASj2PZuQT2UxKzhThzN854Q2cwupLAXUqV5bCui7V3AwFc5nkPVdUtuPWCd4Dw+AoFLMdT2eFvy8zN3OiU5WgbEny668Vwk0/fp+e2latViPfZnxoIV83lYs8pQJ0McsrvXRlS9lklZbaRD3puxvNgakrfH148WUBJsIyhR4v6Djjn2qLjWmUIviqsUAAp76D0KfLbnCCeMWzdWq++wYErYpp4ko3Vld2nyOodmZ9XYNQS/d7QjEn+ycab2sW40GJfWV+JGqMGmzsu/puT61v7qU6XhNEhv8JNB559PABUtpJkF0eUUSUU4Y6BflexIX6uPgDWqmFw4mLDdqh6ZTV6yax4Aje5kaX1HN+50LSl8Qwsf3Hw/4giyVhY9Ubo2v967lOvX8M/qQrdEKg6Tr9K4oF43EqtLegcTeIvJO5a3qZa8vJwpDugC3fvrCfqPcXoP/aDsr3HiYT806oI0QLpYd1E01QLUWjxf9y9gKEQxIwgTz9PQ5t7kYj+pRoicDsDl1LeJFRVS1LEuXFOwsD9TNHievaMCkOvGvWS3VYuYtC+XY/xlfpHlfpkBTQBAs9idxjrvqH4MbfjGD9DZ2ITAnnjD9Jg7ruzoGI1ckSBCqqZeUHRrdp40ZI1n+4cZ4cyXofbt1D0/VS+itCUOByJ7Yt9TtRZhUcYIGUXvN/BMVrnqBAPgdewiFA7ai4K59X3q9QKgtyqh9f1YlsVFZ2u6FPXKLiBRj4CcD/ZImcZNWXQm3nCOUN/2MXD9vdcpPcNKtlycfKjQR0n44ohlhme99OsmDZzfUieK+nXYNDfD3HMInp74StV3qzaqEv16bB/XPJZ6NCYV/nRhNpgqJG7WFosRv5sT5az0PZbHo0XtIDycIKry0E/Z8pLEC/S9t+n95LGC/hOaQEVVQ3koCcJuCefe/Oa6tGh+fzf9akCClvj2cjnKzI+KckHO8PHra9U+mqZg6SfaPMseH8CQgEJbL/QLhpGmYF7mrbpmiabCiBM8lsDnulyeUVHKGyzCFuGEDPduutoYTQgEVrRp+FamkgTPIE9Dk5+TxbMN0Zypiarx2J024VvQlACWktbRVgor+wJ193bgJacqIiHu7SzZJBEWHbgAwVItsZ9tkusRYISerB6emowTbWHCGnnjki1rdtGd0D9AuZoK60zilXJrDH1ZWJ3o8LqFGEJamlWnNgMUwim2fQqQbJv8KioxpqrSmExQmd7TWWxNNpL1asXiCiHnTK5fpPHgeAj+G5fNyLmaNoAo3mGZs9uYXVaIRuGyuZf9eI8a2+EoftaJD6pnBct/kVV6IJKBxdAXFp0PdEPRTxAQcDqjBL5H6Q4fD2dkk+E301+ce1h6k1W9tTPLa1835n24J4dEwxq8UR0WcGL7ORMCzXcOFUz2J/6ExC1BjgZ2KpMtZ56EtemL956U4QpLlmEBD/ld3PxyS90sxu21rZssc05EswT2UL6KJDsWIxUqjvqMfdZHduM1ePTLt9wXpBJ6+d+CWvQ1KPEOWXKmcKdXMGQUeX4l+3DAkcmb7tKR/wq7X0LHbv8wEregZ/c0xyFPW+txy37JTPF7fIDdR6I8f3Hxtz1Qmwn5bJJ4HkO4aL7qc7uljQ72GSYGPC0N9zyC8NncnGgBz7gSVn4p/7HhrB5rkJkwhk9TUtsdYiN82m7KTs1KTl7VHW0PkI64/QhxkrH2WeIXy80XAEUjbXQmqk/ekh5inffGSpsucCk5l4hX4gWkDMrNVsYnkUi5+aT1PRx02u2zpNa1QNp/YELgHUL4UsVVUSBS6RaiPwK2iVeN67kKHvHJx4G93gKMO4vzLKR+X++9I2KOBNIfuUux4jeSBdtr2uetyZ3zn5TabGZbD3mj4SiDhCENTUIW514NEleiFRS2m/3otj8GIWbIyxpVhgho+FYPCsxirhZ93NXM+GNOrGTepxJYl4NA6boHtLUlIC+tS/XTL59Ijvvn1UI6d94EedJbl3bE1M/Hlz+nISYt4BEwOmoR5p4Vg4ACGVH0Z2sMbQ7fWjVkZfrmxsL6tMyZekSavBC+JvAy+EqvvpYrCdK/45Zz2iGJQPpVqNlAuNqNgCOber+UtOPaUiRQWOTBakR+dHM6vnL9XiZcEkXrQXSjLvgZJdLE5mSPmxZb6PerKkSRL5mZjPfde0Z2LO48LRpn5gFULfASJjtX3PjWSU47+hki5uB6Uc8TKX3P5/bC745p8o1VS54PGBbN2lnuC8F/n967YZdavYJUiFv90rDbIaYEVsBk/G+522HLpgHCWudap3MPVVeq6FQq+Ma93SuMtEUvnYlvQtMgxLvXUgz0JIIy1ZvPeufzj0fhmR2sg5C+Y2x6hL5d8+z/eLwF9Y8eBVb15jjEZuZkjqqY5CtIOykMKvuDSxaA78tBCNljuYwpjUEyvV8dH11oygF+Di8QYSQ3slnCsXCHizdUMtWHPd2EF6klbOY9CGOVHVDeuYyVtetgEJVWHr8EX+tBc0cFm7en7jtH4Cpot8rjYVP50LXwUqMXtY3sKTSj0A2kmF2Bfrt7R42o+LRz8ab0doMLwb3PUowsetcB5CwHY2AZEQh7cPrfyCq67uFxmDcK1xaFSB7mdLdnXbQDyo6uC8lG67CmqdLto5pUmizjiEBljsryrq0hOLGfzn5Gu6c1obdpDLFMg3gg6SHzC8TdpX44Wo49PMOwDQNhWmLy0MTnccZBV8F1WhT9MhfW1nCz5Am4oAnLG7I0eBEEUlXRfivNaggeAhQD+HD2N9AA8bOaQeBsE+YJLIwbsTVLiv4nrzOqsx4802uBHHQ35AImOIXckn59g1Vh1tYgCaAvwl4ha49X0V9cFpNCWibQ//x1lF5LW3aH6i2XjAQsrWpEMV6nHBGEmpYJH+aM+UWROyQuMImVY7YENUaxseZ3aJA6x6mtZT0WmLyt3AL0RFewxARCsEltiOQ4+aLVZ608/g4gurwkgbG3NmdW8Lkwv5PcTFjNfIHRhSjKKIR+2rQTJHXRpxEueIDzJaPXpqpZeenouv1BJVr1SHlIdyRB2+mw+XCb/N7FFF8NYvJIOT03I1KdgVJZwQGSgPIiixXvwHLHDKfXOJxPCPwTxMhJA6D/HHCsFcCNRk78YOYyJp0zDHV5P9SvWSmne9iPoLjRLvjQfnCduW7YyX0FuwIas765kGQO7J8gSvuIr0ZhHWlaqK9rZJCnTQGqj8A/n805MpwEJRAqwJ2vxZfScp64X1hXsIQT72yRFneh4VuPVRnLW8WaEnXnBNHzWSwUKDxQv0Y4NFuUo/2naHiTztJVpc6ZeYXqWm1m+ikdMI2sP+GohdDe8SH68Vs/uP5/mnZtHJHG/jIlVqblxWYvgdhApIucGEge6eS3RdoKz2GklcpreP+hbhx4d/4bRwhiw4MUKRPzJvhis1LGbuMcDHBnwo/n7i+1sOXpfrMn0liy2EP48Q0fDlId+fyfCKSKDchqWNK/DAu2+Ma9LHBW4q1SGjw8lXKW9tvztpSwopUGdpyOSKA8O6aZ58cwQDSN0ufqpveUS7DQt+kDrYPp89ymcQEJk8yh59woZ4t4WbhQl91szc+LfOngv/IgyUb5fCC3z8pI1YOdjn/n+lotxGmpoI+T95MjHELMZn/VeAvRm7zeYFvuYL+ddYDdw+DWdgBpUj6eJAa4RbtcUWfKEIdnYdaWpC9SnNX3LFVh3Ac5xAKGXuoHSnvnYdPYsr03MiDlujyC8xCHlAiEML+x8yVzDRBB7wfSN6eKb24WMgK/u188jSIl13uUWUmC9f6Uq1IHIEvn6/jcvRUoEKMk5eDuetIZUdgU65bnZH1iYbZFHoVVpSgCIJxCu69ypvNUIKPp7j5bncYV2LbUn/terTSPaY+dRpfd3GJtsB+QRUAvuPAypnPvy31SDdpJbCb9KwVHVbrh5b4ns/YtXQwCvvLa4fIoVlEUpvFYO79g9pCL4TGjfzXzihd/MpztRzIMCgAf23KN+/M62RcyDa/0uj6CwUwsHAG2RtNQGv0Q1k0HvP5S2BSfcaTb10AblwZFRZ3ol1D0uHVZ1bOnIgGR93jjqgW5g4/KbaCAs0MREIHNcgCOdAYPoIrFQxvolW71BdE//j4f/DfQ7VxLb2BbtDKEcWg8F0ev+LT5vog60sC9v5GJSNggLFX/gz1KVS0Kk98J3MJbU0aB0CdYvbyEv3ggUi6uY7mdsalGHOw/8AQ0Ph5ut4kqgD6pCGldw3g4O7w+didOr5Za4Y126ExVoOx0XZGv+Slf4a0Vu9JX/KjVCHm6sX+Z9tIs0BYxEoyzBmPvudpPVfGlSHtIwOk+n9fd7flvUhvHzwADmSylQb4B3PRXKfFZZcr8crC5PVNsjRIsLNkDHFg8e01jSRLPRQaMaIDHdfFF4BkEePp1EEfdh8MLja21yCpirCPV1unqZkZbbSxnPkDpigzqHlEmApjloeCW9fJbhkN9rdg3QSPewsQ7OuRNesB9N6gFFMFDV6vOPJZlvc88T6Y4DKwsWBAFYi4P8dkJN3gOfShzxJSygIitB08XOsfnBlhkl8JJcq0Lrxaj/tAwDuEx/Xa3eyvgFOZAyHGC01c+nkgVNsOStZExHEiBSZ9jvyqjW0fPFzsFe1R+TvtE8QVKejvB0Htk7TzXu+jokXO0b8id9BeusYZQlk5JA/conCI/0l5r1v5ZmsulcYXLmu/Y77TeCuK6e5x0gH98p+XYDPCzNpEtmLyfT0jbboaoYRh39ZHusFHj/cVFPS69U6br/hpzRynPm6ropgWR2FyK8gGlIkLAM6FmNn+l5n/CiYFh34R2uSN78KCIIb5DDeitHGzPSFFh6LlRL8LQwQ/x0CTKbdIBgsHf+CLIpKt1Ia3kXq/95M7ByEmFWvGdNIq10gpdEeZuVBXg/PSNa8mvOFIQtZ1MapDajgb9e0je1MLRmANhIi9BJf5RZaqS0ryDgCL3VjsHMw98Xw3DZ60n8Fd0cojFVYwdJjE7i72ge3UiZJ973FHxOXl1RNOXrvgp6MU6FNpvDsXf98vvYRZ9xs00rZblNLp+MgOQsNWXRWTSGQXFnIQIcKOvt+u1ech+NHIDokVhu81CqAsDphNj8kkEctiwAKm11jdBACIjWp+ZQkJeFYwwFBzZgZmwsfPetWIy4LtE2ZzHMYpYyV9NYNupuKKOBkGKYn/V1XCALYWvuPTNDOBQAENfjFhuORUX3WyB6JiJhD8CzYRqhFAtdMI7TcyXnHvlRDXs24AypdvdISAwAE4tPaYIyw6juHAHPG9Sw8sZNpHP3h3nmbdAGdpjoAXsmqdPIKLYULSq6hMLwB9dQ26/S4PqcDeYAMXGMLWnHf/UIGkYOSZHb9I8ulh6PGvSekQQPzpUSeIFdlnBJ9gM9XzwVUWrYyGU5qPuBHuv3+0pdjmb3FB4aIOcKIoBzPb1PbMNs2PxmxV5hag11YJkUBB9f5Eet6iJ4cxYu2l0UVoKnbzycXGRWwrnqDgB7jX4Rfn8HSZmOSo3RWJIFxQMn1JIXIMta8iOMvDG642Sg/y/f3utAIq8KUxU5RyKknugAUtfK6J2PElRgDcq2Mf3oLDLAEpSI+c1SQPy4ekFazeyqFGwa1o66/lq37zPLYgVqalwqRNYMA9Kyqvjgomy3F06fel4ORjWFZEr0MGXoA7zdHI71/eqzIVt0teA7ipxBKjwxA9oETcYsMQmErby8YKKlEAJprEJeR0NJG/tH/Tcrq1GHT7enXrjYY8Vedwl9cUXGH60IXARehDcf7F2R9tOtLYtaTddICblpzM7giyZOBiAItoet7+XFf7qo/9iptRxjzuQPfkDQE/R0K4R4fhQBTiUEQ6lEO+pfqFfh59YLVaeF0GH6sClffse+0L9x8xuwAuyz4Q+E4+qi/oCKZxtdQBcc9UBk/0tGw3J9UjAcigkT+oeRqTOMfbETcZMvdCpiQj0RhJpoDXQkxgDdm91Jcp0+wSsc6AIyRabIJe9QlYVhElyqxQVBh3pMgO7rtk59T5VcBkia2q6MqeuMHbTLmtc7RYUVvndi8fan1Z1tBlfNoQHfOmkJ2TScr/CJbSO9bt+n7u92o2go91iji+bEsQybLyeYReAguV62lJGLeHq9remZjeeEoqa3S61s3K5ywQ5B0Hjpr+S/tvJW3MXW+rGGSRfkaV8KrVfJR6ljMKtHkTTtEMgEuZFxR34gkB3ozJojymEXW9QeuGuWmLmsE5Yz2gFWwhbk/HjNmI9aUpZOcorviGDpHFOofl4yb1mxYTAPEXAA7tqZ+96bd8vCwt1WocAdF9I6KJSJ8zVNsVomSqqT1SatDON+Sxk9lSmI2UPalHDWXLfJgVKcHOix+VYVILAY+OAfqnEZwMx0pNy6n0Auk0KE299xn1DPK2sWUf84lYeD3k8zuhjpZp99RheOwOdjDCCFOvH6qOCLmwKl5O0gXRk+oiRsgm3sy3oDMTGWYUXbX+cDyjTKeKrNY2m1dn1y9qTiJ+hhWXwxDZqGBXt9buRU+OapUY6rrnWuwYb1uDhA3rX6Xz6798jeIxZqwqu2ZFNEjFQQDEZmBBF/ATkeeEeBapF7mId51915+I1Rgdfa8uySA530N7aYEmUIaOJcaF+KWlSUImWmOcMPyVNdj7MBxVHnENmksiedTYXotFlx0Q4buqBUce5XpCHqbwc4PftQ+cH9ZePIzmHn6Z4qO7JxEiX8LYnmQWYDlF6vQJ2TeXxPrUzjOmgKxdlxhEIw/Um+xE3HyxTnH2Z8owpyFti+rEJvNZGAXTA0zkntvn8bgfxKFZvvOR54EWkYyuaIY7zDmIPNx7WhSgFtsYun5i+keukrlaXokmWmRtt5VToDgFXnNG5RYhFNP1Ur6amNc7UQlFZ5dPJpwlmWU8F2JKX/EjHHFU7wHARg67C2GDPm0jUBAGLhhmXr+79ANuNXuiG+/dLAQsu4SzGU7YFII+EnKBMKyx+D2UON90wWI3DoTM6tMdGYWYCv6u+KOh2tNywSkIxnHGyMt/RholHPCC/OF1vbXefUiiaficlZkaMfAQ9SWuhp0nuNvx0sjUiZf9sTbCjK2EdmCUE6ykVIhxyiADEpYwjlGSwZaxa+2g6W6X/wiJJL3x9G/CkfylK7AMXgjU9tg/g4kKSSkkBHST9buWXI+zBffG5mD10ECQSubZnYJK8R7SeakKE8GsdyCp0XYRFBjkBp7KXC5QSyJzrJY2MR9DJlP4j1pL41umMUX4qyfDoRdclkiAblymlToHZbdhGgzfhr0OeQRWpUzAhYQb3sLfyb+nfb/rB/UcwRDL/Q6WEZO3Qrh58pPVJy74MKUIkXc/fpjW6kEjujtGg25gieglgMfCWbAQ2j9zQx9ZvBKGHkEA3z8q83SSISwQAfb9fb966NJCdBfLwSKetOS2Xqf2bIx0cillSRZb+DZ6P18ZM1iIiaqs/y5lALj4bm3wir3QFLK1GLrvODR8ZntWsi3aMIuCJdMUBJtEaOAVLPwzumONsK+ToTR4e3ighoDhjNdJ/akSqfwW4sHUvep7UiZEMITiRkQ2BvE1Phw6EQ4Ox30e16HHsN0p3vjKNkBeu/tlR+783qWco0u8xaX28vWSCwsOcPr+GJq4NYYj4TUbSZGtt7IzRceCYt1KLEDIy6GmWt3PszUe4qGzjsf1g8j7LCjwPLVULjzmrlLT5vX8bXJtM9uySppzgUy8DyMobRQTaLSQeTh2S2O8C4AX8DMwmK5rotg/1Tf2QfsssPDtID9f5vhOKhNYwGiToeypCn7D+L5fFGs/HddiyTZixhxDDY0CFnUNwS8PuPDAu2/CV6quNQMJzcoZvyJQgJ1CHmpHtgZGsj9bWmj60aBGMsMFyo+it+Wk8a/9evO/EcZFuF9SacxsZJzfR0dW1S1ZaFKORjoY/bLhU6A6C198aMB6/cMQujoxWwX3MGv+Rb+PSLZcG3+FcxCew7TUJsWVLNFQJjfqJVo22GUQtlH4JYCCe1xXjd816d/lL35EsZuT3YWK3OQXyZkNDFrFx7gZllqvDmbzlXsJDxChyniqhjbaf70yaikJp/q1RLdo84D1kPQEKbI8W84b8xNb3SOcm6+rRqD/blx77lDMLvUj45PWFYYoCaUWktFv+tkELemLggMkOOLbkCyztMNlC/H760hPeTOG5wv552CzAbo8vIjZpwYbmvZ0EbeAQA14wxrUFJyQa71IGoXwjHcb99wU2NQ9ZbwGtrEaRsM54MNI7RWzKl7uuOHhQxN429zlerscr46oZKbdWJzdclh7h/ZqEQvdjRmJwNU9QaB79WBfkgRoPyD+FtUsaoSHBAg8k6GiF2BYD9SSL3kqPr5FFD2GT3pjl8g6psshlcmeg11dvPeN3eWh2dfaecDRgEn1sc1qfsho0UrskP51MulUiEzfwv7y614MEFQbFbC+9Efupv1+cFW3bsD+491FTcMozvS8FS7nzMgKzPwLqNz9+S+3/xvNt0Gc86aympzGx4dDuOqYyuGKcStkR1+Nkw8zh7jACuJ4tsdU3RaK/ykBSotYjlKCJIT4b2Hl4LEwvmwiDq3QJJaDV9j43yBxe5RWcFXp0V98Ht58jWbsUsEgJapdjq7rJz4LOvud13T3cyG5fNqUt3pGtv1eJpTHcNkhSrTVb0ITq0pfhXcYSK1sTp3wmJvdn/T62vDbjCEQx3DWUm566V1D4p5zvPGYMWDgJ0fxS6ZbzX3ZSoGj/hCQPuuW9lCMi3saS5PdHw4tl3Ww1hsaHnEn3+Or/PrHHR9P05MEwfK5CcEHb768GG3d5yfuVmwAF6Jva3mbsTqDjakWnfp8nFVBdmesUnp+sTOpvqU26QjJmb45DibuGyCshhExmrWH52wjCRI8qBTZ9yUqdiXb/rNvbo1jZCtoDuj1rWVzJQ/0hH27swAwvb3E1BQTiU5zQFkhLLIfr8I7iBz9DJjajxkdDG5IPHuMOBEi/fsN9pzxObBJevNMvSQn9KhMduQf71NMCYoqWgWLJVoDmG4zCQdBWcgq6jJG+GCS+ReG7JGmi+nl5l3eTE4P2MJr2e7YZGDQC9bvt6JQV8m+0BnhDjHjOQnO6Xz7jcxdzCI86YVoQjB83KPnET56pMv9FovVWLxwDIPsr5paBeBwRIiGLSOvYbw/u1izSJ/oA4lrOoyc6VBHyhpqmmUskdFgLs+4cu1sM/IUm9zsVAodUAW04AUJQlT/y/G+q/QVzp2YHf+tW9s8LpcBvcNJ0+i9aqYDWbjchuBPEHHj523smU4n7/cBJ3wMNdl0EpE5cH7TxqBGrmHc3yhFCyHtUDAPD1izPugyiyHPc1OKjTcCHSQhvMLvAni1trNbE/IMtQM0XlKRK1L3Qn/8QYJwovvDrmE+TEp/5v2VobulPuymPfcPLLf8pZFzTNNOUiUq6j505Qd43G7TDluCtl05O/RSekKcanAXYj2pipewfxonQSfPCQnnCciatPfJwLUy76ICT/y1BJ5DByPsNxII6SvoH9WWckV7h/ARc1JqpgZCsQTWNfDfOR5kWvsQ/HcgWjJbndVaApZHYMjQWau8kJtgoLkwDJPD8OXQrQDLcfrer8IgzSmE9HnPcQOAxOrStpWwtYJ3xseQSyTts2VWOQ0O6YO4pdyzSNsNUrbrahNDLP1ivMYQ5J1664CEyeRs0Q1tyJPe+qqz4yUiAub4x/tXsI6g++sWNfbxnM3NIesjpeWeLbk/mT/2ivpp/Qpzrjy3ub9OvVo0cGm9DR5DL1SIbqv/sHhbVwLCtzVplbZ3IukIpVzx5aIVeqY1DrrHBIjGIsmuDBjUBsyVEM9/ZaMBsfPcnsagDEkua8K6hlzeMTFRPmL36d2D3+txMKMpHOrptQVZflbfPVPqlNApUVX1W0VpkskuCALWo/p7nWRpsl3s/jO9+StvGfO2ngsTiwkyovrV0rfF9R+xf8j62qCBoPluYH57AqRxCGMnb+8KFpv6+2aDFFq7s+9tKu8gDj2xdxpCGAUebuaBgBhsnkHvsdlAEtOFOhuwwIT+ANEo/olmbMhm6Z9Of9YsPaYd3w7P7yNs0tmQWJlvskkWRronpt7BmPLQ6EmvHbF8DUEWWzoTaCGkEHMyuHjWomtW92GFlO1jqf7l1AqCYLfYRNcU2/qvhzKJHh5U8pe8Lfoykq1fjlOajfnK8pM4xyvQ7JG8wdbi/T1WFh8okDdaaPuzOKudT3RAAAmhGPSlhtV6uKAqZ40w6NRS+0MY5oLsE1qEpt99A+QutsVIr5bv2kmIPuEyGkKm3irGG7QwPeQuHphls6XmPJQ7F8ka7jVDzFQ7EtUmGFLpL/cC/Ady98aA1ShJ8i1KwVJx33LetvgMUaypt7YLkHt25IfP8wOe/JkQn4pDOokxji1ISgR0pXrQJAVlQBBztAyBjlojLiC/3eAOKtQjUqp2hWgFIl7FL3GayxXUdxuQZ3VznveuAipULZUc3IRot0Gj1XBM9wePnTr2KF7GmhDDV80NC/vqaiRBDnTmDMWEw8MT5h+R3mnoAd+oerfI2wXZtnlrZ7gfBeWFqXptxPF47c2TSZxXm7gHnkoLO2ke/SMlGB8GIyjoFkycM7kTVqm9L8SoOhDLSP+C8C9s5nf+VkWLeIE+EYtHcug0I09luVO2KNhg2LPsIe36982Hej5gr8jtFj8cX8Y1si+Mn3lgsOfrRBlB9rqoJIJmEOSr7zOPVGnHobyMsJutezEchnNtgxcTL9/zcn+yF8cmeMqce0/dNd6aWU6h2kFyE72Nia7kjqkxy10WGRtasgaRc9ndS+l/lhDl0Jz5kJYkloNBDxZoMn26OS/h3DCSrsNOh+X0xoEDU4G1TpGV7XCiITuyP2tpy05QjLZYOgv8nqu6QTWAactoUWCc4oi5hkMFkoBeoeoFXnNge9VdnYAiJvpegWqPpF4eOVgjlDu3BmmMc9nNWKgm+g33i70NQY1ciZPQT/lsIGEYTOrqnIekm1NtmE+p3NgGVj2b1t49r4YhS7t9LrDDPcB0GcGOieDdvhHjKtx/Q5O8DD9VAXFdBW/WEjjBSWFBQRkPG0MLbtA98mFhFL++fkn4B5UkjVjHQNYldxxGyMU4RmXyg7xTz9CdhuxS6agRivcR47OpdodcKjiEcR/CF/iC03FjOHMNQhqbcsDCkiZXpCw5qXdaEJ6IJ1qZi9WAKsHaPCR6A6NKL6cnvuxScyyjkhnqQW91C3X/thM5s1xv3JzB9EobIyFSMhENLWauiYGOJ4ocBjfCK1RrYCh1ybEmxRaccGry06OqrpyUEh/QiHGZ2ereJXAe9uJpQtFTdM7Mo4Hh0LVJDpshIfZ296cERBbzuy5Tz5vKIW5nx8SQgIAz+1TE7iCD2I0xMkFFGkoB9aQ8csI0irBNALaZgElFwMVHmPFXAUwqNwEn1Semak7sCjaTFMXAD3tOLmbsrF3PTy8ymiWHjlW/8/FIhA7AAkrlp3mGwZQ4lLW2XufutrqTRz40sGesJuBJ+jecih/mAO/4YqZBTbZ5bRFZjKusxiHFc4aI2780FUUaWskQwQB/m0hSncYB4CqKGxkGgVflQIN6DhQnZ/k569OSPW4hq8+0PbQaLjIJln4JavdLs8VHjUy8F+Ejxso/qd7J5C2X2+sHTUajeaUyBiZriJmxmTmxv/j4/hSQjxfwuuuGosCohnJA69jfSTVJHmeCOQ8tb3+yeQ0Irx6vad0jb+yAVR6CD/rsb5zdrdvYxocjH3HP1yUm3q7pc/j5GAJJiKgy+laNMU1XMRMHoshcvw+TcBAV2CZ0lTWwaFPhFqQ7qsdahA47ypdBd4dtfVYnOn7lS9an9ZZE/1z5F36lWbobduOaDcQ70r9aZYDJ34OrlTK6q2wbMiXpgHZVfFj3IgLFOSSDBPftjE4lIbT6V5ebpdTueB3ANR2RajpUA4ZD6oCTpDcflexFh/c8VI5/UxyOibJjC6TxlxtS7KNImsTljiv0OoHMTpf3upvX4n/3cG0A7PJQZ8s6ZC0v3BGUo0yn1r2348sci03Hyvgi7lImf4/VT2IPo6nCDQXGg6lq2sU7Pk+VHfIj7ZaqIdtCWSomPh9IGw8MnAWAueDdTo6iQ89BEJpqlei252WARGYY1rfHyFVSHDb/sQXuRHgvYXLmiqOX/2PHA1HGLEBt6p5aUiNmilBGYCcUuvZn4TLXD6X0GNm7PYcmNfGZeCS0V8LpRQER8xbg8TysRPF5WMQESVmRh06CV4x5tPktkOMhcWqBJcIExd0IZtiE0XwC0Rt8FSDzS7Wnt/vUs6l1qE+WMsKaHCmFU0k1g5a3aTs7GIkJSDIpbUXQ/f9opO7Yka7A1ma+nscG+mSgOG/8hskMw/541NH74tqM8SVXEzfKbeA8lTtiFb1W7EI0yPKho/Fgl4Y37kBjI0mjziFzdVbcRqO5z2axSGmjFVt+WhjebSpebuTiNqrkfyhWrmnA70+WdibFHE7e7j6pZjICiNmoWt8PNpgYB272hOpJ23FNVp6XS9U2lsUgOZNmayB5mwetXBbo/kAXEQADnpO5aN77XwLkTuPZBjUd+RYlHb6XcdKf1MKxnKdO89ZE1Jmdj9mPbD2cqVKSAUXYl6bY6OpnNGdMH6J/0UZpqgt41qGAuUidw2c9J+GCxknGfWujpTCMk7JbSxkN2l30am+ljS0sAmvTqYCnGRfgVvzai0gMgTQ+Bt6z0AmaxOQLNo0Rqge+Tcd9IfDjhSqkidvvEpDvwDBVe50PJujVP3kfL8HjeIR8kmt0xbxy+ErYYCRGA7dUI8XrXOUBoyes2pi2w/K1Xy4ztciCcUkK0B8yhdxGGdu4O4EhIdeLdrmVP3Fem1qv2rYo3hueVkzCldMj2kbpEaCDUX0HC7w30capN2XgIoQygbc6QMwgoOr3qSFdK84wCwo7x2AS4AbK013lQXL0o5BmpZkTfAg4Me4hvUqKG++1b+rhiP5SaSIdAX3Pyj9O/SpZw19XO/5GwvXkpxUaghFIeKPzuxfUpgFD8ARLOUA9bWXrUFHfFPagZyPD6KW+UOHYKIFh+Lbt7CnYJEfq9iugWeB/Uu++Zz/FQHsZ/8K74PickstGBCMZNSsXWX7cAG6xstdTkI6Zyu3OjwcX8eidzYwHN5RkckgJdvAx8kKuymF7YOFao1xfWTJeLL/lZ7MByQdfLjyVenJCR90rC+XzKJVu+Lmu7kDa3/wLNSuYw06oN+Ls1GeviQWdujUNqaK9hGCo01jwADZnmsrYESwD5wBxrREXSQRN1QKdvQmRiOq2GnwNZ+NkHnHy4KA30WpPLnXnXr4Y2vagwKjdiBdCO60xl0hakCNOSlpbe4cKi0QeFaUbSUcvNOIKBypmvSdrb5mlKiMfBe/3MM1Obty8FOpE1uT2aDy5R92SOvDXqfxWQ6xgsNSnOzfp9T/x6Rn8WHFPaKFfhgcz3JjQ8y0jUFeab88r6rTWZuywTA1LhPIMA8qVi4KD+G8mq2mSy9gPi7AH2GyEW/fltjgOTyNgP4vfH46tMJouB+hB7/TtnVMM+3fVdqq4svxoW6vDB2yi7ovNIQkLdom/S1jxOglYQfhaE+/IRnfwIegnB5jSBVLgUeCwNwjYtdcdJlZlSLWBh+26JThBj7fjuhC4as2/G/OYcaROhvHG3up5G/Fwlzb62l/7hLBFtJMA0+jvcMd8SBmA3mArWBD+ntuh09QgRjql/3Xp+hWoi97FmwjnQVFIUpVD8EkFwXe91fXxV1+mPVUPkF89PjI5LO/Nb8GvbzoJsja3ljkSrtjz5gQkAZMmz7397/LTJZOoaM23RcvKhQ7YEzK6fuq63dvhlSM2cEy/JVYVu9P6+o8sS+eyCMHmQJFeE06aXDxDFwHZ2zcZWw6QMTfDUYYGQBUP2am04gzTmAlbzzc+yesEUedU6qcatV1Y2EzlSubU7XvicLMGzIV+5y3ebrrLY7k+m1h9KDRpwws7KXb/o8FbeyGkF8bgsfgNXacMUd6akdpL6n7wR8uc9mMiZPQTLb50rlpBveY9lcFXHLZPjppAJSKz0wHRqlbEcN8hL60UA10j8Uz59FD2Zp1xv5CBGTYADsPb2I7zFuODNs8ao+gVGvpWQBcjJXrgXiM9KfOYM4KucuTk2CWsK0TTaTWrXISC2vh2vfi0NyBBVDF/Tyt4fbIle6/O3+ofUG93mkApNInnAET9UdlQYaS8yrPXLLVFPI6GfYPqeiIrib5Rc7IlPW2ttg5azzim/fi2I8xq9DF1nZjpxMKUNuc+LvuE2ikZ6cN18fX5FPQbHi+2mqqqwPHppDINkKspO2Fxdctc5sOTWQ7y4dPgB5/ON2lsVyOsaWBwPMIrZp6HCkrdtV1CBoPUujB+tm3IYOUcjdpYphn3kuONntKfzvjsmn5Wy1TcByKJh0KW52kWG330rpxD7EGXEdXzAuV+evmWZj6bHQb5HZN08HLZspXn3nMbyOf+guUXYpHCvTWW154BFLSaFbQ78wCHc7JbOLBRpATtaCgDPr3ZvcXw3baYi/arNOG8VanoshliQ37Gu1zIDNKHR/hDLQ3g+BQa6k/GL2J/oHGL8O9u6yDqo9KOkqjSc0fAMpDAVVFCCAqO1/HD/yAQ00tg+IugZqQ60w99X8omsWHvi5EzSzpNlpqdFD1BGLxKn4Mcv65sOFffLF8v2iB0asQj2ilWrF9Z2G9noCzrlbjSxb/tkel1Rp0NO1+Gblk7PWFZXH3+YyBmf0ne8oWdRz50OXfgEQkBzWIClD5GGZhimB9KhM2HlCMyIxkRgS1bFNw83jDj7PTRl9GCsfKEWSvqN4qka0ELIG0ipao6TxV2T3EqSharK8WnSeiguycp/NrMVurNGA2dg8wVEOoeQjOGWqZxuOrtXQj0hQBTT+tggU90YWiuvZnU4uqpdXYuRgjXvOlBvHxAYcdFoe6HMd2lMbXS1tgqNalf7HUavYF7CCdGz5ono97BgbvIx4N1yHKafG96SdN+h+ncX26dgnKi41wIFftPlzKTIBM8lKI3bXd47Y4VPjX4aDUch41VwvVPQ6WeWoECOdRg8yjceQAtAM6DU5/WbDlsixlzXAq7RgA6AC82ml9AwGtl+gbE2YkaaFxYajXjBuEgEjdJ56D//0eSbppCLqqeog///PK/te6gKnSJAuXdGJUetIqksUOZVx4BKN4ZaZMifNTbZVVIH6Oxb7Dk6VJ95cX4FU7ZRIaMlcdT5KKw6Lws2TdzZH7sfViktRTrvRXrlCadsWoteeDyi3fvomB2eVkUyvxTnMYXKry8xoVK1CF5SdFiYMI1QZYF8GBeud2FNZeDK1A5ahhcvAGvbko1/vMfwsX0qcuclsowVYZUwhgKBOohTmif5MzxEvv1LrBa52qT8Jp2LIFU96g4S6HvgTgiVC0Nz69tCIXDQ9QXnlOi1pBi+O3pA/3Ecxqmk1mNoXi1YVFbBqR/5rxIjKW7S8yrGpjEKRFS4E0vRODJtkl+Zy0FqNkAJVHbL58NpmWFimXys8DevuLHEVdg4DiSI5dGqW2mD3jwnIiqxAhna1fQh7Srx7R5x1J+8qwgP+EyFqsnXYsSwCLxCfKiqMR3TJbmP8r0kp70GZdN0r3v7snOAAbMFXYyIgflzLx+NqiUM+7vA4/mEMvWG18QjCOnfo2i45jdjpT2B7umWH/90MUQU5+VMmKrD47fV2/QN26HD4tDmqHfvvKok0xiS0+UaiUSRiRIBcs/5Wn7K9Ajk7nMbYcbtYdZtfPeUF0gxncAx39RGwOfn/BGocE1riz7zuqHPoxle/CfocYKBP9WuUGX5esEjbfXCE+f1vzlaO+5EucJKVCsnWufBdmUq1noOc5926NXaodjutcPzDXXGuUwAKG3hUHu/zr6us635igdzjgBdOX3P9bZaFc/Avo/6d/xzk93DePfWAefXBVkYXN4Tj6E2JPgDo9oec6shR2nYZkLxm9lTOG30W64tYftW4O8iYnEOfwI+tw50nBHKkgQPssJrUdDj3fjJd/tYAwjc10zNCmC3R+0gbfYJ4N9LZq1cPmY3ShZ6gDWm7eXNGknVTpGwYpkZqKOPvwbg1pyYCcfJy3FbGBmfGfxS33D4ehJ0iYRclreMpmxM1/e/tE9SrMG+G08pk97Ls9MWXDpTAEjHYIqwv+tfvh806NyH9GkgNHHu8SEoYIitgfKFoHxM9XVwS4Zt8gf3esdJkcMrMXt4FNkdi7+SgcTwdPuAFPj1Gv0eQA77KKQpw3oagYwVW+Nk7BQLdr69hsqK33BCcym4ovLHKOFiLT0JbzoWxuuIxZ9UyzWX71Nsl+fANBlFHV9BxxzBDODz8VMk0pM0fzr7dlHP+hMwQBKx/r25QnFf7SWR8EKbOflLMg2QASf6h7K8iwUjcm6eF6lhc3LgwkWtI00KXTsvwVFJfMpRSG6wYqKP/H4wQKes9qcru7n1nWuDrseEF02U+W6QzJ90cxtEGwonC3OMl3IDmXRnCQ+KrwewrIxtgUJUDd5UIvgw6wsR1jEELJq264/vH8hf3Ty7szvZUg3ku3J/pT/CsskalMj1JDa5NsMP6gxXPHu3KCPzSKZJ8TBI4mc9eYL5gwkf2M32BbJm/ICkcpswNUrkmdw4MRGLlpoKSULcMNT0dtQTlBg+R7m/udnxvYbsZXlqHvTu4KS1ijIRUHRfuzLYQi68vmfA7n24E95EHfCK/OHpgusqmYI49DVxJfLNqvC1Fh/oot/237/wL0cbHnBawr2Qs6pvtoVHqRPEuyvDDMpzAaPb9cQYc5EgFWaV+s8JfDJk+Cy6Fr0iPLePQqkf2vw+8gbHziVhuKTFSLYxTXa3EzVMDYoaMRwXPhQi3z8CnLCZ7G/IwZ0ixST4AONi//c7puT9rYxPi91sOOMOih9Kvz7jg4ixxXdM5f17Rtpl8IfV1urmbDlfbJ6/S4uEq9Ll/Oo3VWO0D5Kl8039VFY7fpWJU7JNtN92XfCjBa8+bMoAs/vOhfWCQqdIbK5eckD7U1tG0TtTdGXRfr3JTt4edwCzYbkmK2YEVEmj8a0ghwjQPXnjAns8Z/U2gZXK08uXoMEpaJsS9gYNifU5l9enFyFBDv9YOqZq/1LNjIBQ/r7oHSVAUuL6O2wSm5hZHQeY8WYYXYXiZOCuoxmzEWLb/MBPr8qvbkgNxnlcd7ROjkMZPddImojrW+I03HTmHK+1q4wM90M3A7VIxW7SvqCUt6pJ8ANvgtCsBx1Z10oB8xuWwYeHtAy327e6krHmcA1OWiPT68yDHDibrDieUu7caazi9M29AyyuiRSM5wUrMqLVjHajD38mbHhtCPqn2/lXeQcUiRpJVGjUk1jkOcsJ5sspX80pFAod9sEQ/mvdUmIhYRyQTQgFnlFbZ/HfX75/U5Maq7w+ZdXcDynrOTX7HgmuxBsQTMQIWolFlGdG19kVoGwVOOJqSYQ43VFJHa0/AQ+9K4XN2zK3GXsxeyM06xWEZbOMo6GQ73Al/V6lESsKra7nw9rFAoJFH5THfpm/Wb4lWKVOYvX6uMg+mBxrLaAJgss7K5volMAwfrtLI1exXp8V7g+QUzkFd6jrnLAPqi+eEQMQUKwzpuyK9yPeyIGDfcgYF9OfL6mPkppepsSGLw4BZwiVXenflDdnGIacUAjK+8RpkQmZVUKLNAuTaNPv+Gt+aOgrgyEJ/hUFeqX/ekRifmxxq8h0WJK47D/dkfxDke6FyXRT+9B4b1yY21V9X/OznAADrfQ5ORus+NKsAz/6Nx+DLebCX7ZzsHs652hXt5m1TxLKd5ZKGuwlIie4FC+41hcAWsMqax9Gao8sB62SN+A9jcCSlOAMkotBPqUM0d6zt0XGQXibmEOr9wxNvBHfFGoiTjDANF+B2o8WEvEsRRwKy1wmI/l1lNvrvkrJiE3YJuc8rfk8p/jkctO+/VLazXUKKipF/YQdJl3xt2ci4WjEtuxsfgYIaJChu8NAJdh62XaHmq9i5aSjivQfa9EqOyTo1rncUTcZXWp9W0AJS7PFyd5DeYYyh7DLFyIwNcZMkv/R+z+LXy7qYpZ/NE/5zjFuJ0STNALZaUNiPMoToTSatwqRhjwtikjwtmNaMPiE+lpGQ/qvZUoxFluyLvrZgoS7gVPdUtWRabVfndn5KFLwRGMph+pDkAs6QKpMjxspZow1tdBZLoxyalbl3ijgRsoKKgZUgQfoNJvQY7vaXXqcQj2P7gN1D1VWvTKrS21oMz+2vCocaine2DAn19Y6d2q1CQ0Wt531TShi1GjpsV7AvY1LgfgwifmPdbSijJptHTI3BSBNoN/fFPK67z1ft9EX9sGBlOek6EekjTdEfZME+hJcAG5XpW/9qylSoUmd1OwHtQ9NKv/XkgDmzSWhSNiU1fH/RHFZpEK+3ZNmVrZLA/Ekj1xgkM3SpED0x2aBf35enUAfWFC0iaTJmB2NxIPccCvTpXJJSf0355yorFOZpupB4kY9adOMdnrdf2PK6wGK4wqAD2yULNRR+M4cwQYzpWIfn8dz/zeAnzpHzJlfdkvPpwhLIbrtK/RTOq3Z5EqRxnUtthOLHAMzJvD03zBqwBRWOF62Omqqek1wlhVg5XrhYayR4Wn4CNczv9Cqw831tet8LS0si+AXVBHyGCM6wGaLv60Lng7dpfFyi2r59XjG6o2++xChv+ZKqrHNnA5YVz1IL/tqhQClOIhWY8y4NOzjvlQ8q09oj2uJkrOnrbLbRIMGS+kvevdZuObw7l98BfBN1ma2M2P/CYNKWMfprEEtKzwaPhpHOlP79Ivh7qzJbjz6X0ROj4yhcHHTE5g/dmdjU9ly7dm4JxJoS81gwF/c6wEOOMxeimi/phcYlppx8d4yNfS/nYaiNh+M95yLrDyLCRRc4Suwn8Y/v2Ru0KqAD2AkUALz073t4nOskhKy0OvZMAZnefjFIS/OuJS971Sah41MZ7VeShNfRWAk4fUl+n6KGEbRxw5bJqRWrqgK2lVtjVt84McgdgjMZQ0iTyQRJmQaEDc+O5khgGAL88slSw+dpANHOEtqVu5pKkTPcrsqIjInt3I49xAuuTyBwaM6ukJtiQUzELOQOfeVWsHgq7140X6hs4PDjDvoV3SmI45mrgtiJ0zneiLUvVeCAOaBa1AZKD2ewyzJBLnGw/mozdJ672i0LdecW9Ta/7PfwgTIhamhTDYT4J5YUwH1QTFTw6KJPPfg4vYx5bUM4IAFD4x6nuiRzMRDF6TElrRgFkAD6OIAQu1OEbf4eBkGsFEJ/+QK2M/BwemeyYXgxxOi95AAuB67b3NjZci/YpjZtLNwqTfezLJf16yTEh13xt92SKGfqQXCB7vfx1bEuCA26h61zZzYJ+7p/vO+YStspfeEStl1fGOtJZSTmX1PzL7a4/T/ZhtChjO7odeGcOe70IC8A+eSFEUji9Nr7wYYJnh9nWpyOGMfGbe8YtRxGNliMeizTqF2TOjGT4oBGQka0hXhaDN4VTc4ymKUlt7Rz14tO1ZCcV97X+w9nounVaqxbVtXuVSP6dy/fG56wuW1jOCPnU2A8CAZUxfTgNmyI5p2DqkPW5yfRIGE5CAFczl7eFkDyyHH0NkGW7BNA2RVjBS8WdpGL4fJ20pHEByuWbTmP6l8bFyXkbgvqIfm4+PtbIEEqlHkKPAT0IfMJ5NNmwuHeSe4PJp0j2ErwXpidkbwvRUMI3+MB9eecsqwiPfgpqamKID/aPYMWUdlyRc9VR3Ejbo/DUb6z5Y58eWYtmxQWNSRHqxoVB1ZIc2nIMgY2e6eJV8Xd+Df3gDvPaxnDZYQh3RdhIgg93NhvuZnL37Uc+tt5C3nbnd1q0N7F4oxlHf1W5aKT+2ViBA1wC9/1foBnljxMUiWEA5/pHOfkNWye/AuoWXlQYMNn2Z1OM/sfEXd2TWTCIJyz+AJUFpatEk13oUgCZf2Qi8/jxT5eJEWOUdI7ibkOFKitshQcavkjJZDMcbS6aHT8e81uzjoCZRMAsSUVH0/EZwTtAjPu2PkJ142JC6Vy/QnhN/t96kewQPcZBVnIY1b9mJ9qsd+6BRvV9oRyjA9Ck5vCBGIzmdalqUHL+YQZ9PlEq32X2pivJnoSgDiMYwABOHgt3Mcs0dLZTWhYRAZFdxIdaA++AejgNG51RzTROVAHNWV1vOKYQ1EcY1FJI/FqX48DSjtsyo4mK02phZYxsub2HmIeCs9dkuFe6VDF4EKaLUZhw49F55qGpV69vw0v4ftSDO9Dvf1KeijVrTafhdO4bwJk54fxxW3EkP5nLLvcbo6euqJ7o/jsiEC6Ei2sEXAlEr8Oj6A9+7jej0OB0fo8qHLquo9oMUuPgU9KToD126fKKr1ruaNoar55bbG9TL+12k6v4ZpLj0A8HRnnmR2rNjHu5w8C/jZJTarDgYYtT7SwaYS/i9gsOI+n6jVovB+WK6TpxCDje98rLLNqRbpuoRKXmy+f46VkvxemOX76LjfAjuuGNZZoeVAh7yFNz5EjLVeOSOdgtynl9vKkXlkun0EgJCl3kwScG13TY52/Pr3A/TwS4DRLLgi/UWLvvJ0cLwt7czSwuMtKxsWXkaXhk4oNtvqUy4r9Qod3qmXZ5Naf51F0OH9CGyoBDwBKTgUxzgkDQAVezbZQVXXTETsGOBln6XZfIXE7RM6lybRP2Q4+ACCDnPOPkHBloaw/dvKJ14vm+1YDZF726W5xbH7BIBi+4bzAhDSRkA9XrWsen67CeLQQl0DO9nfrjDGiFvzQgLqtQIYUlBCCrVPhSRRSz54hin0Dprk1VdZgQdGXnfZjt4Ms6mG/IGPmRhQ2RUjXIvN1NAUd5pYe2LfJ3xbWCOMX8ctYnvipS9T5PS4j8VML/kDmA52hT8cp9d8HIT6S1Spup8TdYg9z3vKv8cMvslXkiLQFf/DB0IFlK+6OvXtq0xo0xZVG/6T6zemIESkW57I8wvO0IDAO2L6QX2/7hhBOvgkQjd/lfFf98Xsa1rnG0dzAisrRTHcVkTQMm6+lDU5r3/gPC5U+EE04mbzkC/2/4D/TBkPPBHdDzTRHpNzLlmWY01fSXTIWnVpPHu/d2Ivg2WJhqV+l1DrknMZze9F9Ysxn8H4LtdlJmkOiQvTBHBTVvfxVuXR4qg5prXjLPN36Ce4lRmF1AZGnJDkDnuxFlwvXfEtAQP/yMLuABzqris2uXBaRw8rEyeam3z9Yai5G2tEv6K9agiB1hTmTMlQ2Q76t+DCHCb8s+0U9iKtcq9ZzsRJQv0fmGGyDQy60Erqu+7LgcSslfsEg6kI3xFBu+hQGH6My/F3R9Qd8Bia2w+62r8yTerE3+q5caqyP4nXJ/Vl01aJHJJ7opjaTW5rLChhmhM+24MeeiWeADnj7ZFRkz1tHDkk0fC+yXY0cmimCVZLrdBVtpAfDvIw0IUXmh0YGyAO7xEW8habMU4U+D6sx/3PEtYgntW5wvHPEZt8VBJMDwNRSZZJSZzjIFt0b8zJ3C1lK96tBSeIOdNooXisfvktchV/bhv8dNO8ukZllccjVFNcqNzfka/WTahacqfvAOYdukqFrPG4VD/3pDgjA0HuFW7DZGLAyF+VN0Ai+mkBW9HnBAv5LV6pqv5G0c5XSvhtT87c9dYDQqiAAOdoGlcIG3tBk3BJ8oK1gJeNhRe4p57oqQKSFJwkY0FyKhKrBBg4Y5sF9Mw8VFWGyOPJAwo+aYNOsL9JxHCqMtoSxPivmXG4btu9s2yo0cFsJaULewHTVQ8/5IqJLmAyGYtgZpTz0WB/NeOYDUpwVgH7Ll2Zhk9woVTbRUFeme2DTInbyz0ttaE3eZruzri7Q2s0YS/apXu4gsnhlCTIt+AHtii7OBAjrBRhNvzKDGSkKOT0FxML4hmVM1aaVF6FKQb03gUHuciFNI9XWsfJiuciz2RPlT7TJ/OfB/xIX/PPIMu6XVKXkRreTTEsbygd2kKMnrRC/Mz/TQUKH7N92zEQqza69eEovit7WK96db1U6An6lBYgYOPoiAwB/9xNECESezrJxDWWnjmeNAcr4hQQMUYdMfUmXAIT4rKo5ieIFwI7KHtELEneCIjS/b1yhEY20lqYF377ggEWjwkrRj84gnmEXH1wJyNi2OAi/WxpuI5H7ma8W3FKCHh6FUEgOx1xMzYWfSvnf8AvqxvK1w8CDdpz4Wn+5/o+zShe5qSIbO7Lzoj53Biiv/JCNDLg3BNqVwtAayNBr4gOVO0jMmScMYd0HLYFQK6qQhbPkP2KcslJSobFRsRF3D2IswLLIVXo9nWQn5BA/N1mGpcjXy4gKZJjsJLK0VaQ/vPWH5AwLScdcf0tHZoOIXbMOzq/Cn97HjtYqPII5pfXbCD3HAo/9Abrh8T2dCNBpH1jdumpJCPFxoc5j8F0fZXGZ9E8Pc9UURpo9dAQRQ10FJHue13sBJuJG/k1rWuZ061PzIzPQN8GPX2LOpLrtXAajRIg/06lvob0VyD2hSJwMOP0xjz4q23QFUpBetcdd7qegJsaflLzB8PVAvsIY0kTPbIsHkW1OQeiHpS8Nxvpm6265Ic67+nHLz/p9+e5/1+vW5OOX/ZDZ82rLutXCm3UfTEZQVZg69DlfBrmwMb2vBZesZ6GtbZCeim5Mjdd1Ujvm0r8nR2c3S78PQH+0Q1JsFSyOzmMn1HAs9ks+UTbBiiWWnVYGCk5YpeT2rhGfG32os3kOEnBGbx4fkPHK7SoPJu5j6/xVlkqdhF4cs05aOZyi0gRrvNjt16H840UTv2q3jUZwulz/sZ5eM9aAr0kCucXLegBMzyD7ZBY038uTp2aZ+XpwPrfTSFyDYs7+sIj4kptYa4brxw4wAvJYhfKw/r0uWxmQRp6M6idu7gwkr1PS9w65nTaCEaJV0WM+S1u67BLgCkXaUBXGUQgSOOMdP/PFQKd89tpzvSYnDLCUZD+H7l9phjzVjdxTvEeCetMLDCNNbQ5pyG7Do3ADLCz5gRqxaxYAyPDbaA+mONKcCAe+BSoIsgIhqFBg4Dsq2SFI7hYVRtT5rWrN31QXNv5Huup0oggYhxbh4bneyBfZTWlkCYXjl7boWEaNkbIonBDl1ReTPqCAhnld5Saqw+N5TLigYIaHM+AM/DhwyBkoO+Y4rnb81Zjmcg5PBgA/QDGc66Clbeia3B2ZLqfL+Ddm3vMJwDmCrO9gBQ9/c6ADgfk8wrl2NoHH7bjw3w17LS1k6KNZK0PL84v6gR7wPRqmvZ4uhrV1ql7Pkt7gmoAV/rJy+hwtKIqBqPkEncFVf6RosKa/imskTtULAM+0m9pDFAf3Vzg7rZa59wPJLdixO6wnQMe2QYUYV2KjPPEzLhO0o3r4k+XoRlGk1Dc5jdBPGZ+OLpDjoWxnaFY2UW14QXS6kP+llN8AkwR80s3rh3VIScxniMGxs2AtxAlth2WRmZt59jL1Pdim5P5yItqbPEgsFxDSsK4BBBhkcPR0eqgJ8OhaqyzzHg2rHgl/vHRdyzj1l5EU5vGxjrvgOa4j2+BM4lz4x1Y4dPNscRw3h6qxkJlJ28RonYMD+cqJhBM8euIGSvCrRm42OXBkjkBQARo6crLwjMzFWZj0pnY/+8yuHzcASJGTh6sjk4wmTRKQx7gZ4q/Ykf6xbiHCAJSGzYdj1QUMbOKH5UeaGwoihC5AuUs4UKrswz+hnNIUQj7FbIdYWQzmJPBprdRHx84pl5AQQZN0jkOo8qAkMdGaceofEsoV2WMBQrgFIEdXKbb02YdHvCl5Aonc2oad6vZM1zkHrehIRxt9b5jPCYlA708juAPCPrQYUPlT6vAc0ONoEvovzrsSv27kEbLwsHjNBWoNWYmXv83ESGq8Yh/SKlSGor79S3PIGdSMOwoLnOchV3wYadN9sSKBVlRdUJxPG9wlyXTfs4kpwBeDW9djFGv/MxPM1krgigVv3kYyHYFmlN2DC39dbI2vC1xd7rhh0lKOmxSl28VDTg6eqlG6SA5LQ8OxVO5uqx77C66obqL4mofjcBQin9Sq99NvvnhnIYjSjDMWli6o4zVRSPqcSW4PH23nsk/qMbIwb467NEy3sux418/JCUUwqwJr/NZtuDXkUtl1FthVXI/I/XI+NuFQkPq/Xr1S4LxBiVEyJgbnhAbzDj1por4CPkrYObwMoC6tNP3cb+T70G6jQ8rln1p82eO3fTF9cwo44T9v2u07u2hhiui1i6HNhTNZmX1IINDz2VTStuGdUxqdfimbCaoksXsEtyfQb5w/2rF3wwYI/avVZCpAX5GCTUMH5Z66SitJL7vWeRp4gUs7z36Ly+f5Ywa2xqoDOgChU0u1Qj0zE2sHLodlT1BisvGb1CWdwgdwM2iWR4yFMUIUc5do0ei73uzm/NYpbqitCVIKFUizIzB4jW4ZIP2jdk29xyq7eWFIVwcKNav9UQUOnQfsk3a2Fo1+Yxmo1C+K5h4OluLrVQ2D/GFVhkW70SNVG2y2YIdRWkL5tvzOXBCGp+f1BN8VdUHJgzJD7gqLrMD6pMSwVq8+IgEGeApYJL9BEbpnxWxFuyBB0XpghujgsVMwvoguwlrWazD//gRs8nHnIzSGGfugcmdU9AWC23YNTM0AFV3fYKmyql1AGkUE8J0/r9Ga0votjlBNZBzLJp3p7GFUBuxWb27Urix/nDGY0Xoje457hj3r270o5KokBLcScJUtYpCQ99u53Ym6hlSfgEFTPAgdZV34U4yLVWhwfbz9B0oL7UbdImS5oQJZ9wVraKoYje7uWYmMB2FLj3YMEtEbvrPR0dPFE9Nx1A167IMMLrRciSOM7b8rraF3XnSNrs+oO7BJ3TdIdn+FQI2DaNoDcxfZ65XCkp1PLSyY/hwPiBS47FuWI1G7zc8bf6rsleudZCDRiKrvxrmTZHZIDQEZlu9HpNtzT2KBiH10hPi4qiD7mNXs9BoHNoStwclT3XxPo4U6SQo00WwKNEhOdvNzCtUNkXmz9Mk7fwWaldH/wMtTwbWzTeduUou6knTwPENDnXjl8LOofsYgQ1ey/vc4ABSPtI5mz2mXBimb1MfuvI8eBVoio8NeozdpLeD9dBjTz8+UYjZg4yLqaomVMk/PYAdak2b5muvfiOdlZk7hHHBd+k2t0lx0TIvz+eNrMvSC48nFhg7PAhNW9e6jORpJHH/xSlIIELkjp6IfmHnWv41+UzSh7PJasWjeYuczYYnGvx9LD5/K2Uk/xlfaW3xD5wzJ+x6pX+AX7pShTjnzF1f+2y3AlFW/oNJQ7o5GPJ9/zouoisjs7WN3ahGEg0ZcecF/Mr8HIcgMxfwd4dWWuMQohhvYeuf33T3YhSlYyz3JCuuv7RF8/50lapkI1Nxq6eyCUAeaU0fA83fPxRds7a7uXXS0nnDKx2ULX8GW357Rn4WOaVLzNdeb/J/sT7m04j6KSEZ2SO0wGzOSwcEEbBsbovBvaq84KaPSPSD8JTwAaLyIdagm9285/WJHmYTd5BQomRdwUlWhcj/czWJoATSFiNUFr4zXpsIDNu77RHJvatYUJHz/ryH8KwfTqIcvblLDrwr5+Ehw++Hsh90gpFcVgUFCwr7FwYYhUlyD+JbOGk476NJ6UAmfguQcRBPnHt8LSEysVGxEcWjyL78X/K2fHV2RN5MxJnE5o74Tla3EyOCoo0ib0syHiLpsZZZKkHbP7RahaACWhTp1158OXRAKSmdGKczP+IOGBqUFbK3QFTBpJlajgzwv1JttNZHnr+qM40mvNU3UQJLQ679bV7O+0jmfCxu2FoF+os6cFCS56/mx46X+mtKxLB1Y5MAAKfJZJnqh1XxXVn+aIPuxQ0pWkU252nc6aPVg4orc8WUgwJ+s3BBdYp9eXUu850VVcH2Bg2/sZTnkO8GYr4Y3LWu7ITSNHLFEWv4autNum1Euhbxhcc5wspb3q+bOugjyMJ097LmeFmfx1r5dzf+Y1SybL5yxiu3TY6IMa2hbDSSvI8RODjD7LR8HdvkrB8Wj1zfMnmA9PwCNkvslydtO9x8ESkVU+iHrijt2alKrldOKI9cTzldq0OrQqzbPi7kY5HCb5bKbpw9a1xAZmqNmq9j1m0cUc1d5s66tRvN5srbtbn5/P1++ZR9QgaBSQ/ciulSKnrwKlLB0QNkgB8LbySX9v6HnbUbZFolrhakLHpUS0hZ+jLNK1CrOT3GwCXWpwtbEWiTRL7YciZCBMi/HlqKVgqUIlqtW03vTVoIOl3voeRJefjQjyCPtDN79Tn3ys00SRrjaBALo2YTm3R1GOkrJk0EnrIt3PaqQzdg0uq9luDbqT5SGnFNBdaNVBwipGWypnkOiPGkGIDcl6wyneODPMwV3e8sqz/nxJKJM7d7/TIxyQpgq/DN106a4tOLJfcfWktMhPQgB2r4nf90J7w6Q2h7VIL2e8qyp7aso5/bxbuq/5EFtkuUBddjq85SKGT5fuWzMiPkW0hoWRrMGl7iFIWBnoKadbjZct5WsDNh/PyD0LUOfif5KnPLEZ4kv8812f37TG/iJMLd5145AkW3Hz/fT/90MKM8y2tTUDZJx3JCFNdECTFswhpcl/z5+eUYrEH+P60Xwz3Co4MeS51hvXA4bSSM3JIzVhDyxvoQT67mK3RmFOo0WH2Uefru1G7Ud9HQ6P20AcQW4h1Jc+GQLrZ1iOtvkXEvyZBOtk4d9oqaVNp32/KWIib8CGKZ+lkHGb5KOzKvsdcJxk2cpWIRVaErGSN1DpOZtUGZ1Z1lctfIYypKKAV4cD22sjOa95WyCNTVes3CqfJreDf+sFzMtzTnnWCLKG8T3ou8aV84xrVkAlJ1JfqX9kp4mDpBxvnSAWS2V1KUaVoTY7tPdPzwcX9tb85+fMPmfEEWq8SyYwbl7jszGZ0gyLetQXpCcVD8UemUD+ggC+kc+4YAXh9A+kVKjGfwCjP0sYpXC36+1jkPGKMPbcgQD0M2N3I6o/FQBAZ6QTnkpkbfj1/WfjkAymdoxN6hYq3ItIGLNqMfvrlsjYJK1NNklrPqY1/qEgJUcFmzhp4odxdfCj8QkJLTAZm4VPrrHJ6G94Sp0nAZbBBbmPqfd4S13UTdsBxEGSiOJFz6wowt2CqVuR/9D3ri+h8YPb8oih4Lu7YxHW6wSyjuZ14a+QY0eh6Viu3FwbSVJF8BUi7vvHQnqpaBTjHHWkaqXmp4U7rt4w7caywWQJx+osZ/HpisJfwqjgaBUaPp8U58I516zsj9OwY0gMxFxkorA1fP/HY1Hi9QTphiSuSyF5/TTszWnXLAWHawE0rnAK7ysKY1vftoBodyoPtehUG4dhyAww9eC15CTD/5CpCI4zkdXC473gxXa8LKkX9vte+LI5h1ltNVPZSNxnaNfstvUGe8Z/Ra/eWxB+xFPM6e3Qfw63AmHJlGQljhSlkPwZLNTpUHX+9MKN0g3UY8FiiZSK2LW6F/C+62cU3BW8kdJ0t72t+wwLa9m1Ykz3Ls9814dpelcl8femVItjnX5cm1rSmI+ciTwo2Ow4remwYbHqRJliJ2bx1HYckOS3fTrBs6UD7E1GxRCB0odIFLETtGc3a8FP+bN5myeDg9sgrg18Q0ceJBsYlbQB+5owbhbrC1ozWIcuVDr8XxiX5zYDj9+kdOsBQ402A7QzR0ruAUrABrbEPRWS1giWT1sbZLBF9xnnQpDZaxYmsVQxJQckFEU4+2m4Vi7RPuXbhn3d9CG2dJp2pJDUVoOdNenKbulGBdCOTEvqWV7DLglmfe/l9DktWwyF1evzYPszXuFvi1zmHrq+kx6EU/e7WJKMgadQFXijVeN/IKWoOq0YBgeYvuU7LniALv/ewE/dD9/vCRsgjIzc4oQKoB7ZZ04GEoFL7u3gQRNDLZ9ZcH1WiwOdJqB1QWm5wynHpZu24L57jDFtnNtZ2iqetaQH1nGWufxU7ePxOdRrPd84pb57RZJ3phG3HvVAs13MN21AOF+ILot1Gob4zHFTVUZOR4FJN0y+Vl8bTGQUsyN/mi5AKPKmSP78h/eqCDmKyGS+YL1M3IPoV/1HrQvtoEboDX6d2ky2DXrroUfylRLnQnu9shEl1CNLFP/PCcgGBLHqj7rOpTHGz6/fFo3DlPuiPvfvGFrisMRqKHVGEoyj+s7jrDJI+uemkIyNEN449KyMc7HDmw0n2KXoBXpcoS93rNZXBS4h2cwXqrNmxZRskqxRb0YTNUG0Dbn0AUEXLZ56iGKTh3YdHtJOMwYkA34i6D9QkPbI=" title="Mekko Graphics Chart">
            <a:extLst>
              <a:ext uri="{FF2B5EF4-FFF2-40B4-BE49-F238E27FC236}">
                <a16:creationId xmlns:a16="http://schemas.microsoft.com/office/drawing/2014/main" id="{E108E8D5-540B-4331-97C1-DAE7296026D6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455930" y="1598930"/>
            <a:ext cx="8232140" cy="4879340"/>
          </a:xfrm>
          <a:prstGeom prst="rect">
            <a:avLst/>
          </a:prstGeom>
          <a:blipFill>
            <a:blip r:embed="rId9"/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74462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276225"/>
            <a:ext cx="8229600" cy="990600"/>
          </a:xfrm>
        </p:spPr>
        <p:txBody>
          <a:bodyPr/>
          <a:lstStyle/>
          <a:p>
            <a:r>
              <a:rPr lang="en-US" dirty="0"/>
              <a:t>Wine Customer Segmentation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457200" y="1096450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The 84M wine consumers in the US fall into six different buying segments.</a:t>
            </a:r>
          </a:p>
        </p:txBody>
      </p:sp>
      <p:sp>
        <p:nvSpPr>
          <p:cNvPr id="9" name="Rectangle 8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prsQcMwHG1A0zlmK2EkOrSEhwH5ixGcY9gLvAqxz5oFpjeQeSQKhU1BqeoR5Smxcc0sC25F6N+2MfiugdZUv+ZEvW/2BfV5u+tR+jmvc+1T6Tuu5bcp0D2Nq6x3jyEWf2g8NKY8qRiOKxR/HOHoee1favrctpYRUDFpTGR7BlVon1eBJSGpDi+Furh4gQ18bLzurOfFLPIiOepPIPm+mUj8/dbnYiRi3JOFCBDRPtVHwm/Vwz7y6OMRPo1DhoAXkrB50g/Z6GBVVflqoNyJjy5XT/N4obzW3qf7VjKkkDXX6vnNuY4I6mSKZW6GOIl9ElKES/DTlrgR2vt7GtOjEJgFJSeE8wi3NQCwrgOQGL1jwW+wk0Z6hZDgkSixR/sWEwbZexboLvstoD61OcHAOwVKvqmQxtlBgv4J35sjBq0Dv8aMV+Fyr84n3NTT/67ZNFxAUqtE0FhUkBVjZvJFCbaEIEWw/KPORq1m+1aIimlmAN/MnyGRSLl89Coid5wN9HrPtQ5gDJAPTd30PyEHAkSoXxZLLHbMqLsi9VglWo7FV91nS6FQ50Wv9aTGlpl04HrelBAN06VgHJ6tD/6TgPvcyCzi7gzIoG8v+CuQCZzr2uHUBbVdpBRITUkGSrkvBJyHBOAiW+4NoA/ppjqG+xvoc8WVzPY2qFgT8qokHRRW2opCoawJ+NCoHcKK7xpw49CnDikZMFO8QkDLrvVtfWgiv4GVezxyAPG5Jaa8y23BwYOM6dXM5I3N1Je/Ip48BCoxx1tk6glXjDlZg128ISpMIjZElXZmZg3/EjS3SN9SRe5gCATK2VmX0fYjIxh4oXst2ZV4XjIUL5nDJwfUuFluhVxU36SdtgbrQBT/rkbTll9hNdCqxgnAPKE/UjtHT3IU/zp9p9xfBpOgj3b/M0FovkREoxhWu7is9+RBT6IvuYwpJr59msf9Vs9R9J+QuErpW/kMr04EGS+FrSqM41gC2l+cjUuEMX5Xiray5JVGRAp1F/6JJMqv+6kWIbaU2cyjneODwJ60DUWht1SnXX2g0nfA4kSgdCJhCc4uJeaU0WWDK69qaeTPG0YlLFmzPm9ur+x0aJBDjkZnsvaoE1D5rIEMh+K/7Sv7NIPmNU4ROY7gmr3mbYvEM3jyOa7G7wE6NyjrL6CxEu3O8h2+HOttHUSKljR7VKmNamrNWNsBV8eR9fzntGfE+/POplOrGbMXBIIqmTJ1nHDAZZHVA1RMiJBUYBl4rPU9fT9hgc2EuNeDdWn9KDEeOpNMauFUCeIj8H3PJhkuhJq/M2i0K1ymmM83FjX0mdHzwp3tF7Q/k1rv4gizsjMRF41AU/RcWHf4ONlAXGvP+5ssy2vo5Bx5UMWrYUCWaAbp30XDRRmnUh/9SqqftSNr7uddzb2DjRpmK/lfuC4roRgKI6YM5wkSORhWl6BKG8Pb6aovYeSxC/vNqXyvfJwLcUrJwWCQkBoVzJxwPdLu0JPoyVLr1LhtYLEubiJuFMx1ntnTjuboaNBxabwZP6yPjVlFeu4kSXXjUGEar+VJ+Zo33EGTTETEwx7ATo9bqXrA6FKWLrAevEo8UrTm5E4SRj0Hs/oMoVw5lQ5NV9Q8mu9AAS8XRmXcSBrMeooP4CNo9dnbS6kshvpNP/MaG5xiN1LSlwoNOdmx/nyHCosy5wir9bSnJ3p2vdY0+YRJ3KvYvXqQhuo2wsgjXhbFBJr2uQYO6SfWBYKVk1PRcAuMnqtN8VpEkFbLrinckIrFsuUay/6REwRyrb0IIgOwXMZamEVc2omRpPC/bHn9dHHO/RLy68EU6GC2QBgAF4HJhvBotEBC+l/OD9YDY+4B7LNnsUz1igo8z/s60DEU0zALYo+5ChX7+HvjiMyzZ1MTLQ22kglWKIGshVeZVxCa4Ap8NOolHjWH8dg/XN2kd31Y8RR+LUEjFYXSYFGrngAiLEtawXq4qgiE6DJLfe/MKBTmgelnDhoQ45PV8B6OLHcsvDk/GMufBxLnWzyfUHC9Z09er2WjWCeJlYUrEKXsp9apRq72dTX8dg4Yx99axSHbGyENvoLHznGReviWFN/uxAPPccVRtUBr+Dp4gkVmtSNOLz9oftLY5vM3wwiJObAY6DNaE46mS2v66iYmaX9MWBV2ydsDaWkCnLMJ7L9pgxXcKDH1xJDw2EjaJmR8vfN4B7oIQWvkic40IZmlF3VO0U6T892gvL8C8ldTY2mZ45JF6dU50/PWFCO7Ici9ag4GVwLdEf5YqvnxAiy4/6uhHsSPLLe6ES98lgB1fAnkYTMDNZJjNwiGV+JmnxDrYEnVwNqjmYrjANp+LKQ/R7aW02scIJTYGRFzlO2bIiRGHHhTH08k96Ie+U3L0tPbXgDK92PBbCOuXU3htbpCD6HsR3fpNe75sm0h3IlsX9O+43VEQ9WC5XpwTkt64GP2TqxP8dw5sZVt2VAt1XAJqQvmgxZP8U6Uix0ZgeaLf7JFHUeY+T74uQeQSYpaXb8ao4lnf0ick42yllA2JQ00d7TCrq7MO7umGsh+DhTrnAg5njKFO9wwI7dFeAzLpEg6tu2ay+b1p4ufWVgnry2mB9ThSp7SVJtHSrsmHuZ5t9K9xMGCaMSGPvMmKi3LIvQhDOIBERPe49jPzBqMr8YTZ84rP/qk158BZDHLOo1j8ohDNv7rxumYkBF1x2cBBTEg+ZuF72az8j12qLp3SziVtV6br2XAtXFHFiy0DEgYHaBcfWMLfbPchJzZG0e3C2bbxWg9IGzjrP957PJ/sFGbNRR0M8IpNzfVGdzDdOK0C9RL2VquiWSI/OyFzCLODGkR/7g5AAXvttCfWACzjPFtbYhy3sTMfnxX7eICCejzqD8pPMx+CaKl9UvP8Ino4mb2GNUvQM4nC/EKUzoAyzXb4HCsK4RzMwtxj4at5J6Jj1Noae0V4kBKKesyRgvRJWLZFCLcp/gXnR274Qgi6d5IfwZFkRH285Ipi2tZ30bHcsQgkaSUT2vaeYAD+XkiQ/6Bde+5zSSKrgss8d3ptjNE8fr60oCTTW91KnPFiDLm8V77l7PPrcy+p4G+LzCG/zq5tlUXtwPHjiAMr6pRIQsEMNFb/TnjoWIXSHbKDiHJ/6XNKjKqdQHz02/SpVr+42GKKp881St1wapJq8/furZg/Vtr7O2uM9gFMnJ9iaYRvA7Co2eWEcJHPxTsMG8J4jdAtkOpUNLYFfHWD9pklWZ9aUBuWy6AD2EDPQSNJi52YqhjZqkZZ8UuxAMqJvF/e9Q49OfZBLb5fqJLDtWOuccklO4KCsT+Xjx5+Savoum8bqJNSoh07T30bAK7VWMOZue9bM5NKXffPRmeA2KSKgL1BHB7bDOyMyrq7B7VZNSzZAgPIUxdolu3vMOnJy9hL7j4PAxlKConl6SoZtNQkfRYpF2Cfw+ODu8agvTQBNxBdzDAW/Mv7xanGchD80h6KRCogzw4K/EOzABZh49BgSueexMHPgVV7pk89L8rmw/5Fxjqy6yFk9ay/RaBJpsmAWM5+URHKGvEVvWHJufcc1QEP58d3wpzF6a1iAvWxwqj1r5qNxTszvDxWRrvnwDOBrFjjorL2593JaJ7W7VIzNnCjETtEKLC/dpruKamapYjhxXrYZP9z2kDbCYJslVLm7NTYcj37BA5Inof9VJqqzEaBLeufdimbtQENdJdOIwC9TgqWuVhods2UWB7E3+COrqBM4oEl7gBFtfeqMuYNAyihdvZjhILzclwHYjR1mvjjR5+d5t8h+8ur3HllWaiZcZHMo2VfeFJZ2fICGRMHSTlKZzD8zT7lS6AhgAL9lmIIpOWgdrKwtXQPNbnAWXdy/prz9g1tIuQSHdetaiSKM9rXG652fQ8B6g1XiBdorNoWDJQB6+/vUTcZtKbYc5p0iOQ2bHS1n1H5SRO5a+fb7yav9igCOrt1MvDPJGhgTDVmYtXIsptCRauDWeg28fRGMKublwqvZbEvpWUWp9T5QqOjlSxCG+EgXPQIOtfdNScStbvgRGkzqVB4300wUmYm+Sstv5VPv3znIRmmm/E+n60rRlFaMHPTAKT0lWdHD0ukcamWqqoYKvzVo4aTTtxf/dBn3XSvHX0B4xZgbZ2m57qFkujMaY9eNdvo3w63ZcQ+miYi8zHDGPTNB5/dKxRpkEk3ycjy/JWtIA99mnkcqdndfJX6oEk+CwZFQ7pdGPf3wqDpn84IiWtqXqoQ2GJ0ZOuBt2gPm3UnUQ5jOIMWx0rZkMUFnH84IoXV8iqMCO4pum8BTyAXXKslx+o430q4TDSDv7Jm/JD4X7Yh61frvi1y3fUwJ9fjcOM4qGvY77d8q3IieZbs+wvFU/hcGFeS3GkKNPYOTKvSR33x0x/8uEPFLtK+57nKxXU2XsOaNQ5wtIowa9gidtwr5YXQ2yjBqFG8AzVnM1Ljzsw+5lQ9/6EXkm/gcPBntlb0ndQ99piorPsVm0y99vsSJMQVskbDGQePQ0q0paNqM1Sb4E0cCW8QpX/YTuqyYizabjGkaa2KLlkzNxjPaYUMbm6pnl9sskKqsv2ZxoQS7hPsQGkOx76nvu7xgEQ1YYPAE95GCothJWap1ZkfZEZCpQQkeRj57p7NyGe1jKBvUygFY6x+S2/WmOfhwokKx31+azNlFQhBgBGiX4qVd7KPq6DpVCPEwPiV6IQzzF+RpptSCPdtcHAsCOGhayY3ZpTuZu4lNzhYDzhJYxYl5kT0tNDwdxI1o2ArE75s/INNa1gGagvAQ2Kv7x73/o7buXM3b+eKtsiC7Y/4uNQcpU/6mIBTK1OFvGmZLlPLLmjJtrpQ5LHCi/mGCEj1R7WJwgjFT1hevm6SviFyeVtLiT19M60wp0IhFPaxkxIZ7g7Hq7aJRwiL/T4sfk86D3ky6MdF73FccGX9b7BUg6nyEuXZPgQYPXnScc+Yy9LUW4Bu6gq/0BU3rRJMdEdQYV7HnHLgmlYIrn+9ZEwXEqLjNeGS/TFFMfu5/CeHyEnF6GTiUmFfDf3Kp50DKUQg84npOTT/PkTjjkkzWuJ2NlSdKOq3fwIxItsYP5SZ/7rBxDGiISpiaI6a6jULXZXdWHyxeh3+LecWgE9Vzs5pxYXVIf0A6gc9ooanhF679jXsjAa7Tb3TLwt17JLo1keqNwqOVG+UoF0Om8eCNa5ozLe+PSfq/N8soyE6UaaFmMuwEvYCkVTJRtUvzKqC4leay4fZm0Ha0W7KftTteVe6yfMwg1sXnrmGqJ4a20Tfx1vm2LciIqBxnQW/lLwwxyM6cA0/FIC2Xs3ajCzcgEZvF4Zns4X+U08j3E30BKCj86IhbqnQ5ZuShn2XW2tLJijjYjiADysxXmi2lce5TxXVkOM3TOmyqA3XOmZjhOgkk5em/TEI2NnFVUZItOrgcCR66q1PRKetg+WRBeW7Dd1tFZGBxE/fUaT2aARyqPwKPT6Tm0PhuQ/BaQedFu2LEHrMUhGfhkz9wrtUul3aVPRS99Ccwc/SCxWiZrfV1/ubySxXHoxkYxrZBH3Vnv/bqIy7Okr6SsyV5rK+liDF2czc2EvdlNuiApgAOTQNZl8cZ5pGUNJmiW9VjDfh+3q14k8moRAnBQKGp9/HV4k22cy06SQbyQvG9xa+SDTIBQs4/AzYUosE95eBus8r/2I0HvUkqEqSCgYNL1Jg74Z5lVjDbINrZ+QAbsGwZMwpjI+JH/wCmV86YOMYgngXvir2tg2rlg613iWPzJ1Ret+zXkD24c2ozW8npz5O5i+dLJIU6CRiYwt/G6TZQj3IScFguCOJLgbNdMtwpuqLlX+wiS+bX+5xiNop2/XYPBB33CCJferDwLx1B5noIcNE2G0CS4t+9kTdjZE7gWCodt4Yi+7HQhGLCeWiMc+DofT6+ExFW0Ty1oIx+kkGuBkjo1PIbNMO1jbzf8bWposMelmtqQkNnOKC6cW+7cKXSDVAk65sCVCgOB12FDbXYorCHRUUk+8KOCL/qRolXRElskQqfeM5Dhmd7AQVTMbkoXLU8+q4Jvgtc991YcSJ85WuxxJV1R/P7r3bU8ClZrr9Uybp1y1ij+0L1TvyiOLHF/H0M2XOsvpolkJNvP2XRJch2BmtgY5CGqNEZRpzf/soNzcgNUWhKjJZNAhSR042r9ZkCyUeqKrVdC2S2IqHxq0OFBmisjTwBc1GGjhnuWxmjek3Lxh5xdg+b+4XI56B6LSS++NYlNM1Zs4YUa6wlQQod5ceJv3nUBHdFe9E0YnkiPRinH7ZsPoyzAW47gY+DZ2PPslzD4vdA/VVrJIvfqzsrHe8NLuo6D1FEN0TUDV6rczGMtIP3LPZcHhDdOVZbo0G6q5QHfaqDOOmMvm/dkQnsQU1tv/6RfBbPYNJoUlQ28eUxShIiNBVb0RchxG1TTvp6bj5F3XRScFY5N82fK5HK+VxxzWrbeXq6JvGBCUlbRMolorC54oBClHyPtxAV83r3JEP8DbvQTe8tEOt7pb/PTtzMEAxF9ZjZuXt1byoHDAOLx/yZA2GmRQe8175Xah9Oqvc+MKCr20sa6CUxjZfokyQC1yQRyUNyiB58bLDEq+wye4soTBfgtxTUybtkF5esmSDyFGycRN2Osh8lIJg/kyreFJaM/RT0+0sm6s5zpHYRt8JEd7r3Po2usG6og2l1RJ+aIsBz/A3kL+d+3d/EDXkfVn+z3ux+EXfc2geN1zCs2RkK6VHzm/uuGB23nZOb/r7hPrTRObjSiz8HegvgsipIMAg8nXgU776GVGe9KpDvJdPCUNA5hRPS64JfJ1e4yxGH1bJYPB4/udpcryOokWHVp2acdAaydsiVwjuZzwIJ/vJX6RUgY/Iwri5mYw1hhcOFSnSIva8ebCpxktfo3H0GVwxTxcLBeFaktdYrZy9Rtg8Mr50Fp+zy8Ij0r63mvKafXiIYftFInDoonKgF9q3EgDvSvvfXdq0gpCzBOU1FJzgtpedf6mgkukAEmNePBY1G3mchhXTO0anyeOxazcXOMKroGjz8zm540P0szLe3tkdWAQyOey2YYZJFxfdMjseCuLzc5OQy635S7c0QtYY5gg8ki+1Y8x9b72jHlaBXowI4O8gjNjJuh494R+bPFCfpVJtKZj903bRRM2JVup9kGieiJ7d67EHIioo6XX77lFNcOPTXTz17j1bai/96w2G/Pz/B7zU3ZAUkIn+3gfRyKlR+ZGjnqiXSVeQbQ3UxdokSIUd75C8Il+xLFifb+2cLSni97BXu9PzhVU5/7uoIEPINFgX7Tq4M2+teiXeXc0TRhhBqqGieM8k3OFLlCjL36NShLqCQ2HJe139vFzJQvyw3zDLBW4UXBK4CwZ4Fuc0c/tNsJSV1jThb/hS7td3hIFZECWQ6bwitO+dEVmbZXT/DZacTTWsWsV9NAnSvyDybggqSTZeV3vHXUu4AP2e0VbD5Eryg2IiBBmDIP5zul+nxDbbYzntQaFzxLD+qOo7+PnSkKElCh+YDJXmFuGiFrQOvlFzbAIIS8/l5xQXBGxIfA13vfbzWXYrZ/h7o0/gu7yjSWJuLqiRo3zuwGH/wAXns6CUEpA+mDDz5gX+4GPWkGAi9PKSu4gNqjSbOaG8traCPbmFPQ/Owi2SHcokuF+4tpV88O2lsNdaINq9REQ+TCjfexlEZC0sS4NUVDevPYaV/+6Ke14RVWKhs7GMXmGdR4VVDknqU1isDy64EYA4YODm0lxNdhD/QpJJWUkUBS5zISa5/F1phvHUsnEH+z45ATw/94E9QJFi9MEc+raJwFAGxwDJJO72X7CTGhoFHfqWuuBSxu3yyG+3tk2W9+sype2dNpbv7h7rT3yW9o4svK8wmQOjuiyeOrZMxR5131eGpZqxGLfLASzTzFJaGZNI/xaFznBMA8p7JeU23QMHbKKsdi+0q4jdYKGz2m1lGyUa7FZiuj5AQKQYK0ai8bTGZYYnoa0BWlr946T9oMvRzT8x547JzCJ2586EVsr9RZjtqAR0xyM5zDYg+kZnP3o5yjhSHVPT4gFS+a1SP4a6n6ysDYZN6ta9IrIYUM2+jlc1rPlWlcOOrfnomrK+oR/WIc+ZjGk2/LaU/zbUJA6AzWGT/owCAg4SW+96LIjTzQt42zkb5r/J5JFXorMXSV0z/8fPxCfsooiSWatSunlB/BnOGIC5cwX8WPCZnY8kzRYUy4Ykm8QTMQ8lfZ7cX+ESME6ExVYODT0F7vdOVGnQZF7hXxVwPt1qBRIDihWse3fn8G5Gqpv+uGHoX22FyiQ2Fu4KxJbkLoGf8FlDIIDoe/wF0ypXpEhDcrA/F6pJxWVy+w5o8vJtwX68RIqn5AzqxtkbquT8t/0kvDAULHTlzepa/VKWy85OxhZkG+twYuDmtgQxmCe8rZIRItgA26GHm4lI4eGQFGmA34hOw2c6t3hK02EkyXj2ZBJgqIajDri8jdilkfzqZHbIUGg4Or2RBMkMqL+MZkGdZp/K2ev2FEpek8T/Xp9yWIYZBcVD0QLA/LBfm+wPElNezz9qB0xuiAeeOdHRh1a+YRj8oZ8MJRReIYO7sMrfPhXqYW1anYHzFl2a6MRDqMNXiyq9dZWNFbrkKG8e3+a/FxcklO5+gZlVZUX+skam8cuOXtFtZWuDXcW6L6zvRi0Qzc5KuBzrh6FcuBhwNRY6UkovSPUL3pum7vjBBpBp+U4Y6odl6sVguYn6Okg2bku4se/SrpSUic5QGxjcYfOUyvCShCTvZOYjB0WYWukeU8TjsXm1zaXkRAP2Qw8HuyuUXfkvpsKh/TXiLU8hYJTNS4Oyz8nsZG7p3ql25OQoKmPmS2iFdvN2ofmtfCY82a6yhSr+tv49BbBzEWNPXWTY03xTGbpyg7P26pOyae/l5ixbHC7P66Uq+tvUurr8WRr7EeYbMvgT2GOprGKXfSRvXD9hjsG7rKtwQJzhg5E8CLkpsdOHeq5PcnEH15FPrZvnMjl38u8b5rxWuIN9ae6Q2J2R8Xy+EpXNQ5UFI7f0+U+MwfUM3x5SqOmVpcrBnRHY7AQdQh14+ABoMeAD2Ilnj9v9haoTIDELfFkfSoirS7uEoqrNtMIpInzVVlzU0mzvkyyLMuD4KxUyuN6zxYo5XK1onoI37xCe2D+hxT4Wtu9QQaWUUShO0NzGrrTQKN0KD7GBqRUMV/PE2Gva94M7ZmupCMRKOXu83xfW+j99NtOVmeJW/K6sjhyhDcheZMxx1By+P5hw8JT3wWzpwm/cl00FFmKlg5C7MIU2PwttiA2xJnKutnk7QKq0kEZwrh6kZ3NK/+t4/Hkj5qusXJhogDWojJEM3WMu80/JqBzBl+g/XvyYHl7Ue9aYjjgeJKvs5lxw5r5kdtsMyP8/OFGq1XZ8itxViEh8HVN6dUUYVNYXTS2SMnQj6nzsT/cRaun6BaZcBcdmN1qwMEmbzALHr1EOSOcqQgpxKfmD61VHgZCCfkxwIkMMLetPdWUxWqswAyuiMSZEpXmCGWqIjkpvRkaldvqUR5wYaMZnUaDMC1lT3qdrp2ljHGKsoVDepbXLKELdZZH/KfrvW32oXZn8oyW0fB/ywN5Z0mimD9EJ6CPjwy0KQ6zJoJB2sqymEfD/t67yeqa6zE3vz28agJlgS7SKtRuaDd0qWCp9EXgs4Ya85niNKe6iTLPUU5aqPWv5897PcHhnvwhDOSpefwWfTlhdt4ZRyE/ZCzyepQft6o1PeU2jzAx1M5svvbkqkkRsYC+gCOr82mvFk9gbDcxhCyCDIKYyQSCGlHk49HOxTSM8aEarGvZHhvoZdC6C1aKhNOAZx1Y9OUBR2VFmFnLvaioXZxR9SZ9t69/P1fnlG2C76VAkMO760+g1kc5He+hxHGaS8Ij8DR3T+Mz8uZVQoDB85VO2TrvcOA114+lfBwnn23rMc1tJR7uAa5RUldeU6AbTjrJGiT2S0TCoQkkpHi+dOQ/DiPfeiKVZYDxirRMcBjH/pwkwSfle8yDCw8ONLcR8VaMDeDY0m2FAmn1CcxHRe3Xom9bXsqvgMOTmT/K/MijB35csYLwO9IsMEBaP+rbTndpL1nEg6D0awIbHRCg82snva4sMkQLFoA8NHJcVN24ZP7OIdnRX0G6cAhybXqFgCO5QElXRssqUOj78tS8+Yd++fi9NGERGw4PPDr0zLuDp4QQe4zBDdmhspxnlLOUhKUxz43yn76rY2jmUWwnNQdcf/JlD2C1MQfgW45fr5rFps3FV8bfG4gPIBePJ/KoB6HXAImEvj/0/qrfkZPXfyWf54eLgsmvx5G7r8K+O5adH8cEmyK0URmYw3xvvBzORsRVXoz7j9E0t2dBO49CGFiXZjibVvt2F5MHbrGRwvK5E5DpDGHbfWQ0z2eYBofo+mxpRzFrzf+URAApW5lYu80QD4LY9aoZ3ySn8yh1ak/h/o4AN5uwxupmryWJRIrVofLFhBjoozGpWvjD7+fsKC+wGrHaFy6mec1NvSEfe6edrpx4BdQSDCyYp5ED2lglf7WByXteArqus/wkDJf/ON2HFYvTOx0072OQmv93utm2aDdWVX+nkhLJuL+Ce+j8ozVdAgW2UuEh4/vK5h1DYrsvypzgl1GTAqhVkY8Encgnj69VGKa7sk002xOjT+xJyTBUDKZJ7EPvDDhWT23JDcC0GaRSUgo6P+WGPOnqEFNMsO1B7D2KzTZTfpuYKHQ9io3zWP9QHZACIyTIUTMBaZd7yT5rafrnHYy5gYs/uIUUwMWOWia8Aseiy7K5WhNVog4ZavZjiAdpNG3+GQGKWFzLdngFy+0Ysf34MFb61fJg4DRZ2mCNFMwp+hxu6BlppGyU5zzrU2nj+QXW/4YM0AEV5ybrZwGunZ/RR3fH9tSzQvx7Csj7didUAgxru3g6e9rIGIx7YufYLw8ptZh5HmfGBC7Pdx39mBuBYlcDsGdxpOg1P/7GaCwP3GJdtP9d/pa8o8i+qVUGLBPM+kG50HFBx6i+k7AX8lwVQEZwRztqqYcyGBij9tVe3z5lMiy4K4UcSYGA89Ud8mxna8OkhgHXXsAFcFUnwtPn1Jqg3oXZLAdO3nPYhYXfdCByVdx6qZA01I94KYu1S11A1tNo/fxkxQ1wwwu35LgF9aakKTzORoh29nqHsdnKjyi9TDbaa+g3nSKjFyrkFD08OJzGIVT32Pbf3IFxzAYQk6w5ZB4MxvyaCD/ujzcpjsA+TQaxjPDA0moLS5tu+sIWHotLeYoS6pHjuIfF9A+jiSwY6X+9AR/JBBomHWIk9ZuEN0xplS52pbsByUtsN8w9XreNYFCP4xzl5QCF2hMl2b751mTyIXSzEYcejqPw/g40/nfBBBIMuLnrFu3/NAwkNWvAarEBpe08+/hNCrnIhqLMpUb+pETAUVbemRLpzOqAu7BXAWJFnwhIKLGirvMv4VLyF1idFyYmboDF4DtvypwBV9QCjvtM7GT79zso+SLrkivfzl/G36J+OTYH2llKxZVeIcjlKhZfBPJK7hxqfRjD9AgKMwY9NcAMhRIezQfRJjjrgRiyK7iUx1fe/HfuNv25O6WASqR++/8DfVYjj3jrMIEb3DRFzuwAlOVg3EQ1Vj5zXTkE/ebqrmoWai8H0TjPNndlXpQGh4U/zIg248uiFNYXywatmPILenXcUZ6cnVLUb7wt/Gpl/XBZ3g4LC8yeM0ua8mwrF3uEU4fIVg51dWxh14EEMgJGcpY58rHY58aSkLA2HSmDrl+1h6UGfltz/NMCZDi4sA7wC01t6yCkRzAMNNkH0CL5QrjvVILoYJeBWVGH9VowMJuGIpkbCMLx0SwCNC7zJUbkM7Id6TZGnfNiOkVKpbQhKvPtJJYBi4wJsgg98CQPn2GXeKGyMSYRBdG+B3LnG1TbvaHWvuKk10Kv0Y7Ve58VcAcNFv1gjCC5VuYB7rRxUXOG3NNy+s8K/fihAGO2P5iDn32CW9J7agkh6xo1d6yiKr+pWervrlAtW6mFYdy1dHCYvYY/ePi990hBtVezX/4jcSBXsdRFVgC+uVSBjw/2thP7XBlePOEvuXsop4ekUF5lKHuEAz7xP3ThIUMDzQ2IwUbgCeMaDJvaO112Q8klwi6B3dxnSlPPnLRnuaDBAyBU8LgsIEbENt4AjTxmVMOMT++sy2EOfJLNPXySp2RMAYPkfNbAuqPOOgSmEfXhQ2Y3VKjD1ectmtKe4+FsGJkJ3lEnd4WIO8atBpF5dUeghxU7VC/053ExFFr/WW3LQUh8stQl/tycHF0hXDwtqOiRTDU4QBimF98Yb1O+TGWlH578DpXwbBqKpE7TZCENE30RNO6AZk9WE0z0nGkda3eRlPMjJxOet7H5GBh/H834xBd+dv0j9nGAMgCOVIq5hMfWjZeax6FJTK0qMbEt0Ykl0JBkcQYojixgSUb0T/cwomp08StXDo69tdS0J1aWxRmYSgmZDeHqhBI/h29iDNe//BB6irPRLGcmn8GxEO6ZYReQQ3nwLXdQw50P5R/38sEMr9ziwMoz/Kwc3MSWzOPTLuqkAUVuvMY5BnbyFYrqA7e12T3mAUWXl6OF5PLRD9Qf5xW2hRFBpkcZilIysUiusCjK8Io/F4toh2iwIzjt/S+Xq9eI80ObLEsk7ck+I+34w3P6LXFnQoQnBQviNIJ9JOWgz2qj50LIwX6TnZt/nnbC9QFq9bHB3gzZUCgAvc6X5C39oQpxXrhIjVe0FdaNnwbg0E6vul1IqvfqF48fQN4AzeVWLI995jkiZMOFnpdXGjOdG3QSnOqIT5+2C2dEQimoI24oTDYsxCTS2lVfBH1Wb0E+dnkBlfoUl/4ETdHQTHKLRznpgShcRGSyPhfjV6GAz4TrFU9ED3KKakFCSTMFmLjvEoFI+xjrQusVoehBq4ToB+mL+HhGkOxVJYocZpgkpwiI2Hyr41I6TKO7E6bJoMurAHS5rOaF0qtoDOmEVWqNJdYVax1ilXr7nOZXplDh1xRU3mIlbdzYphqn1yALnk9Owi87c+r5ghxT+QaC5oqYCY5TckgHZyPhevDzkIkuDBsPxKY0bki4FEmYYhd2gz5DyJ4vdiIlTDnANtYJ4w4nNVIVcfp5z8q+eJjDX/xXMA6nau6GZ04HaM5wSImD5vo201fYpERgeNYmwvG/qI+XMAbrNjvJ5I30APOXOaOQCGM2aBI9xZ8cxkXAyH2OQIz1B4ln/l9KDZUlKt1WY9MND2LEnRxApaemjm4xeTl/R/xbS+TaIjtzFZNMOLRqNM2BQTwTYMv6xz1JlwSK4Q0Ckw2g3deLpuS6lXkQ/0Gji/SdfQDpVrEzHZygp6fOP9UbCerpLOpmBRMSGCm0S/XAaJEGeRXr+4JBAZwuk8zKRliCeLrwCX4W3R6Y5YSPKOfZDte5xTyS/YIirNgWEOZVGaj6sLofv4QcyD6ZeMxoHUuR0NzhOhuLZLR90Te4h6BxeDN9ZCSqzvCwWOqRNc4qRDT7DsFZZNyl4+e7lw35hXLGTMYa9vzKSzGZUt0C2w8Hi+lZQ0vaYXRN3/psr4Q9G3i7Ewd2NYdzwFlX8uHSkY8/UYsk3IWGaMl4bnnOJGu2sHth747HrDmbyV144itX4UgCmHGJPuQ2NnOdAsaTF+BV/5xk80hmobu+3Jb2NBmoJg35K+x+r5ufPf3OX2gyc8I7TO/im0QnWIqQYAxKnMsf3eaF7yaLpRsJMnnd2vY1NKm4Hpq1Gy7nKmwr5tigmRxVTYQxS7Vveq0W3if85grJUjKOn0S+rjGVYiFTavFy31lB2YAlcU9b6rNilPYMHUpK/eGVWPinqwAeAMdo6kxVesQPehya2yef6SI/5d2fYzEQBvkEjhMBdDmtZjZE6x2/NMubPE+2z2n37SHow5Vu/qLnDqWY45zpncXwrAm9t2HYf4lZuHttugKCVsj7tg7fJpvQMIAtZSyhRSTBDrW65t5JXX8cFKFsxAzG8ADCKfylMQMPLVmMKq63Ihb8P/p22r7V6GEXatNcuk5PE0uz5t5Ym4+6hKWWEIIaacD1ANlD3aVH44BLC0cjNJAjC0N74Pq7HIN6A6JNwLLAWsSldgxN35TcWYt1Jz2WBRY23scVo3xHD6gPhuW13udfkuLmdOORypbXrSfKaCQM9kDTUIzeihkHDsU1JqsgAuoW8kl6ez5OR8uoqas9u4g0wJWbvIyfaw2mW3o3u4BUA31LaDO5e9i2Akrh+MKs9PNv24aKr7gdQeJYtPGrD5/X/d8eM9aqnEV/WaBDpogL2AZai97cp79PwwUdInk0So6pcZ9Nws3lXGrU7ii8k4sWQC2fI23KIoaN+d6Tgkry9xnEuvyC2HFkmxYtehuSZ+mnkdIQUV96EVt/G3EgWGi/F7tgMsaxvR8NeF6mOCHuT+41a4E5rKtDrsJRUf/ERb8TCKQzA26+J0/MAYY7ipfNolMPJJrY0No1c9nBJNeXJVo9wwSu+F/VftCMgZTfWFe0thHD5TJl+DZOyss26bdLfDyKCjXfveWnDwc/eO6ZDT+pH254ZOdLoGlNjW1l7z4SZilEAyWdjgNHvXi7+8A5fU3mjYi4kpCW5h/IhuL401ucbWsTbf7MjFRFNY/NlaFIlsmTOWG5MJN0EQ1LMWXtAlX8PdIca9v4fFNzHTVsJobajAZ2U1SW1gYxIF12XWYV+q7Hi7vF2xAnBlGVOJ+jAgw83PXSwRRRR3r0GbW7apfpmhEFEtJ5iedDxKk4a1aiQlY/21ymHr07AkMvMM9dF4BEYtlFFi+zX9wS6WWkMDt+Xf4l+ZP65YVs38HMNkDZ0D+WwBLnEBcwZY8FZVlktENIpOYNtnrxCcs94To0+w+/GF4BQ+3dvsRMWA6c8jPKDuvMVLnjDR+x0bIS1ywCV25lY14g1bF7tzCkGD2WifZTgPFFVabVONH/AQb0YjjJTpnT7BMDEWWJ+6tMRK/YZqmb1/ijiiBVRua0Wu4MRMQO1vCMqm7O7BoQfsGTjnglyxEW67ce6qeZ66Xg9I7SAOImNIPC70wlC49MfSNi4KFQ9omCyMwkDBxYBgGltoEL1LbGidQJJDIf/OtvK/lbZ0JTi4u6U6C/vhkyIcrCIiWoeLKQhKmKdPR16QxeYyrDN2mO88HOAHwTFJmCKCImMRPq024xbAysFVs65SYnslFd2rfEwAu5qXlqGxRFfA6dq5X3Qf7d+K8D9E+kJ5hnCKk1GdlndPJ2VxRB5XsrK2jOmKzkBESSRAdDOs/jpjhxIfOZvyhyXhDsjnyst4ffbX5W0elnO9UcJA63eKbtYz9kxOZv75ygebA2T/5fU5hK1rAuL8l+RMirHop2NBm5tBbA6habGEa/Cj7vw8/8mkPdJCGUF1FdCJKIBHwXq875jM2Y5spjswMBnqacQnGD04gGcyTLsDdU3Vo8sunJ88gIosEfy0N/ZRC7OnGK4bDTfO/ov5+SVNkNZQ2a9KSynjPQ8JAmvnUxJcJLbGhwIdTwRBXNwZgRi7fakcbj1EGg2mWjqiARnnq1hfsAwFC0ZL1dY53X9uLlftQhDFH8iYUWLVX+oZxt2Mb05vEarFfD9H1Ne248QYZWxseNlBYFKC6Rn/JnMxCk7onHpzfS0jKKIrfGqH+oY66UNXg4YO7JPh5jT/W+g+XORwPF24z814kXfO7WsAH8+h8CYw9ofhOychcp6ynyznR+3WOr/TmORY2ybVBoDoEltB5eD5vwMUKNA4OHNKNqjQaarMlfBkdHeXD6Km4cQ4bwzohc90ePwnhE2SuK+O7Ww6jFljLmTOkewLeZ2z4jeByVVbz0GLedA/FOXgN6FRUcdogZzxXYPuQ92XgbHZrYElmU0LLsuH3FRvmEYU0/UOdYUVdhrqFxHodXXnZFLCx8MpvSroKpNlPO00dwcnTni7sbDqn+RVEDzNkn7wLBje32u/hDz7njPQJRVG4jz7iWqUjMYD3fltZ0mpkmkk7C5q6o/YzY4gIP8wKH+jymg7Beh96aIW1NkstKLMxGukxc1BG7x5BdnGPVJ2UtIUC4F1oyux0rNfeBDnCNJ9iIVy8g0OhpB9YiNopIYeA1I+LpJWuTXmpj8l5PBlavePhO9PMQqKs/j4xcRclYCB6mMyUhe1eXS0jjrC3wmn1IloxvvJhKjGpKhBYjZDPVigRC5R7IQHtmRliW/EjzuEcONxe77q1VdTZjbxJ5QtFquy+BLRrH7QkxH7HaQxnbsoa6RJ1mziqOpT9OQeazFZ2VT2S+RDFZzer+4LaOANd81r4ylb4hGXetb2ZzPSXgcAuNIvd0DsCJNd+ybSYRbqws6lXHvJfs1NkoMojmCi7TXMTzlmzHrXAQRETSSwuClGR6cSGfqTKFYyXjWzWxK3ometajs/jp6LpVFCH2J8SGQ3YDvMCieRyKkZHD5gxEiFj3YuPaerbtGGJp47nabvXom0oc1WPNulrX5Dx1rjlGX2jf+80+HZY8/Vrdk8H9A2ItVU4SqtdmnL3IfIqKO615lL9BQEQR5qisSIVoBAX7uQrmXhrmxt0sqHkBIaPzudJ8Ul6gP6D5B7RFqjywdr4A/H0BBDU8FgeUUFAqm0z5z6JzytehlVA3HCTbt09+3+AwDbi4POFmZtk99MKr8/LZj9LLwt9D8xZGS4kqLW35SomjAvhVVdCNBRoOw5ji7JBnov+nf/5ikhlhS9D5GGamB5ogbPH2LvGKvjTiLoU7uPY3w0yRDC251AZiWdIca9JbfkVg/ik5BBKaPyPw9z61RRt01kxa5PbS0xW2gj3CPOcKrmIP+JvD6X07RJBUEVffa3SuVo8Ize58ZhR9PJWSYS5lDQwU3zb2o376CPIvS7CDJB43aS2uh+iowRnYFRheVt4Uy5JIfqqNay8flklYkbc5DZfdEyytXRXe3z2t9TKMzqBAT64wuHI8X52rGkD5qE+fUVfwjRqmOoY1c+kiCH5wluyaD2aFPtQ/5HiL2GyRulgWKnfQM5kh3dqFNjQ4oSqSi8UItMyhOxyLZqQ+a587feGsRJ6kPO81+9czQLG0QdD1wgidfVCb6DqBHuMVTuPPusQzIlK0q6E/hEH3J7zIVSO4X6ivEUccExjPoYsz1QyMmsV9terDQcSvRwZ66jpWQjPnDY44o3PqEnO/k7r8LpyOVjEOKz4w21KzPUu3ctajSV+iuJgh6XKGOZDIiEgiK3Zvx/n0MprzNFLzPyzlG4dCLoPZc7nBFe3OIyOow/YoyLHYZ73PWVCZsksWXB2mrCoFaPPyJDOLD37iX0Go6AxcYgFLlgwuhukY7Kg4zFlAhN6hl+CC/TQ9+taoVO3VWKdMWi7Jc7JLABV3zJZ68u25J9YJILVMOYbe6HpDoFSNy62eHRNfzZjn5PyeVPX7qZRmU+spKSe1w4gBgoDPfvjQia/B3AvJW8a72zbKy03UfVnS/W/WSGSqECkOqiQdtOSwJMHW1RqYnJ1W+krslkG+n64dNatYrDcUceX0iVHQ1M0xWjdR3PBFXhCZ1HpkIc45XtmXixp9srrw9xeHTJ/C3F07lW6l0m9igS9ZqVxgREGV9/XMiIdUMQXSHPE70hnx5ebwt1Ampy+X6PdMA5km3b2QwYZNCd5JFqqca4jhnks8lNu0ulOE5J9PnO+7o6hirhzIjfQlB0p2SSVfPTQVLzDLtHLY75PDO8LlULP3WUr+7ND+qnoKBF5+/G5N8xohXT/TODUKbgkCY/THEhDO7DtYCL0nceAPo3pg//s7D9Nd8NpX24K13Vr/GWXSRTKLcAYA5dqTFm/X3VHznMGL/waDsGX3OyIyvx0Z0PtUxPrjn1szs4NeqpxbXN9/FvJCUzvYktd18fqhF+iEPWv60FznG7+BsDLmlZD+xctIrDmXv8naXmiZq2M2ZxNOsrRyKn/I3Y2rA26wgkfs6DUTTvb0KygrhI36p9i+GUSjKRP6altTQB0PfIalQnlQ6mA31jO8sIhUlLWh1GrW6c4enAmTVnXzWUv79fMg815JLWA0Dki3n37Xane9VLJk0iy847HE12ZxYKDiGDc9ybLXjR/pGtaxiRyr+zEplS/Thy8nEtrYll1sJ1ol1h6K7/aDGsFbx2D6bPzwDLXv1fmdSBfnwLzNEDye+l/tBKUF0QtRvCBRjLH8S53+EbN5lwgQ6qoEUdIzOgjF8UBOFl2dS6uxyLgatkAiBRpRxbFZz1fcAdtE8ZzTLXitXZZ6QRkKRCnKYQZrJAWEy3hT3ljM5QxtBW6wJVIaNmEREembOKvzfw1+8VPsBSfsgOj+V0OSroUdb4HE6lVkK3NvKSDnvVxgAxSlgQnnViENLOnv2LInwyqHn0Z/Uaw+5zFJRdRnPS1c4juEiJwgSwdL8G1jkgQWWM7sk4QZvKH1B5PEodbfRm6XpjUE0k9CknUkssphB0BSZr8qprkAenyvam/7iqlHwsHtsx9hP66y4kf1vRovAybSWdGcc0uCMhHxbKy0v4nasvJG3MPZ/8j9GBWF54zO6VUlQiHfUNW/whTuzFT1swd+85sRcJUG1qLxNGixBuwL+GQ7LW+pbHL9omZpU5E2z1b30Bj1vAx7cTPXzQRbxuaZMic0hkpVhXUnZukg4azny9j1DmAT1BnVn5l2hZRyjx4qQchukSukiCk2tiMsMYn1kW0s6FeGc7oeM8D4XaJIFVu6KnlKVFWu/OH1U5tpzzL+6bZ1m9hj2og9suL8JFRjZvzZzKrQ86ycQbVKMIUUMpVE2Y7hbgGOV/dVKpTsrDp7YwGURZJIXvphf5AxK6Ytl9gxNX08ZPNiaxWX9vV/4yoP4AVXYu3IRGMCFNAvAsnoH5QabqZPFQlXDDKCP/AOfhnxounPwWqu6iI9Onj8qwiBR7EcvX7PDa6K/1UBa+TkrrLqP73lLgm2rv0iUPNH2wcRXadhPUTmDQLxvXat0HFvb22zq9gfKUvDpHd7Wd2ej3OC0w5Jok5LxcLN+sq2qHlHwnJMS8pHr2z3U3JgUKuHCyY1gwMSrM8ReyobyAS5ONEDDPU2RjODVz5lPZHbvyMNwJL5xb5fmiR9r1iFxavZTGZoA4syRZFiTB06+ctBfNRF7SC4cP08bPWUrdMqHjYINLJJ50zevGZ/NkGhzs2HauD8vx8euW13Zed0FwxbFWALqRS5q95Mtfc1bvwjfH+eaP3XSzamIYMZL2TyXlKypfsBqG/cpqFC9mGmmibfMnpW25MJbeBc1jZfva8prauTrSn9aLmVxS+rJ5owsvCmj6wNPP+qd41XYSoIUz90qTvseQRkH3Nh7r+ZAvJK5bt00SOKCPq0bbd25V1xRDy7LhSJlVTJpAwbiiVHPUh9OLW8TIPDFFAOvXUQkqIImkgipLURY2L0jlfLs8K0Uz4A98nW3sWOIWvPY+KpJt9GfWKkIqLpE2PQt5wSTTGbWrSa0LEhvA0xoNKokvfrqe06EZTSwKvirVb9v2QlSlvo3+G2xAJoiJVtW9Xqo3uGFnePuvQz/hSaTaa3O6ngd73s10eTU99/39EXDjrCZts8RkUkD1PIi8h5Dw3RNM+6Ensco2xrPsAKo9l2CNZF1xS1VJSkEwQBaFETUl39OV4Xw+5j9/+kZxFmP4ILa+jp5zb+AcV69zbLRRy8HSOwi88UTjHCJZ6cyyzjpk3aCA+Q2qws13b49Nro+Iziu6JsDKbiCRLMfnpNsoW9DNOdjcxO7FAS4T9FSW2ZEoivGRTUUlyuNPXUQ5tbZp8iczJDP9BZUvBhGFeR5TlA6Xwk4ns/mQ1GtalVRshpOiWmhsLC2LHJBSeGyb8hmomsOmKDwFFanScCLlS3evJuSlKyof2gVrPLO8m27IN7EdmmQNpy1Lmy8Frv82nkqVTqxR7qohlOhvFzihrC/7GpUDbVJE7rf4IfUJRUHVOGIrbBjwY/CkIOLQZ5aOut/kOsOMKXnNZqmbsnBLA+p7LiONOUtZQj+ct7kMl+QjuhdOs2HHqztAh//IqN8KRpkgXdWMaJLc/4jrQhX9ySe1bbBSvPj5VQxi6YGSEwQei+HhzWjHc+YCO/ZlZBaHMbV20ki4pI2nv6jtRbFkFXKRrafs6B1ZRfo5dtpPa9JOJofhrqjLHqqdbxQsItwq/SjHhe47OiLSpEnST4QXtexfVcsSWRL781LaOMGP7vhMlXWrqftSSJ0XiH4a70KX6LGjk//TemzBCLIcoDTnTelz7kOAl+G3m53zFqJ+2WeIW0aFRro+izfl51BvU95ZtgeMkMIP1GJHK9Bnf+MwFGo+TWHv42ScQ+TB8tjdHPwlUJCHg99hcHDz3L6veEaN0WS2eW3smEMx7jb34pwGVQxicEGfNxKpzTSkTHPBw7vu9vapTJ5zSuzDlmketf4PMM+TOGLimyrMLapX3o5DlLJZIXxe5r+KOe6Q2GaeGgDAkGLybJFqwIizxHqSwnetRF/Jdly+IjdkQpc9bILuW4cDBedi7H2aUL261zENwxFRQfhFMu1nzkdpYdCFBvPZVROa3nSjNw04xPFxt44Rh8rEVPExumAtsMLdyUlsv1K3o/pHs+eQQO18oqEC2OtRYDeNCDMNvedypsoMZaI3uLNFzuhCLLIfUHgbGEgiEpB2g2lDJdicZAQZ47cnL9b3/dcYTPZTThhGNbVwS17Vgmn33nTe7UwdHQneEHsIot+tTATT4tUWC1HUwFHY3vmOq1QRE8Ko6N+Vprvkxm5PiAcu1S9ZW9DkxEE/fLNdVtLCuuugOuJ8w0icIrAT+AlfyqHBeh5XurpsXCnn7dG2OPw+IJ31yGyd5RcHSHSWNvH4WmDGGZ3PJWc0cN7qXxvUqfmKzn/bCQw25PU+LW3uAlXGlddjMQyNA8j9/6PK/SSFPbyaKU2xkELC2J2Wuow9/1Ra292M/jCROKGYNqTroQwjz9/yIZmvPAo1pgrGo4A5fOsAZUXMimaV9rO4G7XKUSGJhLPgcABuniQIeNGA7eNfrHZvPT1XrlTgrJ99JQkXnfnJiFn8W/LBtgIeJZ/wz2+PH1vMqvKMb2WwS5wkQ5pW9I5i8wVWQJnT2hYK5Z7CfLNSNw6KSq8tADDMS6+AurNilcL+BloVLLYgMaXWfeIhmABSm2WWdR3I/sBjy5oTTy3a+jkqG+YL3ITtKsCjZF14WkBnO7A+jYihxruuO8QXJovMZef9qaexr3hyD/yUml/uls/aHjvWucnkqiHKntD91mDAHEPY0q66otHBy0t7Hal+Wafb0cBmbiSnaRppZgXEBi/sekZh0F0h8QaM8lPq8YXGVhFt9VgoXtjQMdNT31wEaY0rt7nde6ZebFqW7OnQZzLdjW9DvZF3uRhevWj7vHVIdDr2nzMMUlOMsjxKQSKlBNyaZ8Qcho8fyfcByp0SV2mG7mAgViRaE+e9tWtNUa/HK3pE5NvTRm3NJNVYU/hgXp2hv7ma3rz3pmlWd8/izxH18wrfLzoEu9VAHxuTGo2vzhj6gagVl4llcBI/YMbrhriQ+vhc7Sml+E1tDk7BuvZrNUDhGev4e2ijIagx3Rch5jcje6kYHTpjSI0bUHuscklDTGOT30KRd+uTZfS9bRRJCiNRLrIrtDyKmNblMuInZpCzxr/SFxHWtQqjADzJ90SFFKOjTCzPJnkpSp+TVYKZQl5TW77hcYIucl+pQmVftgl3mpa3ikn6usRzoCgMBN8f/LZrI+2UG7TYHRTEMsH6t1FOzGk+fFRau1wTPozCkn0Xns4UEYXh6hY5fi3IxH1IaNYhq/C36ITmGDAB6g+xNXlsu3UB11Bx3cMiBBjRymjlBZYD1+oK6VNNi1gDaeZV9fZQ1DZEyxbcehdJP0abGhzFUGC8Ye4c9kKcIGf0v7MN5pyLzW0AzcwlL+IKQ11+IsCB6aIEi0kgvmJkn12f53OywvA/en9EuDhHTjd8IXbVbSsF/3Ecsrq+8JbbDOCSEZS5bR6Uzks9pIvVR9T3oIiOT5b9O/ms7Z5WBirueYL0xuZiNXkRy3I3HCMX3wrU8+eyzxOnrtJ6Q0tslcZ/KYasyNOSHMQTCXFC+G8yY4sW0+7vLd9/gap2xicM4MhoD2GQ/kIGzIGx/zQn6Gs3phtyywd/SI4dthUIZAsGOU7tTnbldVAdCBPt/U8L+c7MsDy6/7MUsSCLu0nK8baCoskUT9i7Chrac90W6PdN7MP9A5CCi0h7mmtH7JxXyluvKAUTFbwXzrXJxalDtCU7tSFL5c4w7fnzIiDmAaz9d/h1QntXyGV9H2flLuwsznfVd5mWUgRFW4PF4thyZeP39MOvcHfqien83+TWYDFRGWa+dP/N7j4l6u9R63G/gooNr0eBruIR9P5hia2jEzTSZsf8M5jvbJkxZTd3GhvEn+Y8buhQsTW1y+BY7gSrTqlzBC4aCl5YhZJ/LNZ71/7qjkcbOej7bq0tiCe6ZcPqwdwX+oa8vIY8R/RfXqheY3EGrjAKedYuZ/Qo1ohNmPkAj7yQ4dSd7ui+3nKYrPg4t7digCVvxVpKSxBtTychfBVTe9VVcbkSb1KAi59aWxqNzVVgBRdScusjrkJJdr1ZZvmqZh24MgcbaduP9V7XDMFVioUbjv5l3ANF3DlSuXl1VXJU6mKro55RJuUgk+DQbYr0RWSmeq6uleM5qmb5CxNltmBgpwDgNCm0LdZ1/aoeYCbj4QBeVpS6G1iVa2aHmx1vXbT/3pebT4uvAMb4DfrttbE4f1mO7OSxHSy9lNRYVbjUfifvBTFK2v6DCSKBN9tcCt9axycAE/iz3uH9woh1PJkG8ymFV1uZGXsIqA82pb+pEX212+Q+EGi0lXjnsSqjFeuuH1LOg5ixGQHsPbqV1X6eGaDhtjCJZN7AlKvFLOs/yrcJkV7Dn4v4nj1GeFTs9IkaqKiEAJwgFek+RL2GwE+45hk+Jl+2jDDnncjtyQZrb+NpsQL3MTQWsLg1j8WzuDbXmOD0BBRkEvTecil0QNCEt7Atm++8jbXp7FgDkoKz6fot8m0GeFYc3teMs773rEtjLEHGWOSn/OXphW1UBKRRybOb32h1LfZrhUHbuJ8imIlsnMHSm39tLITuO8HaBnK820qYfX+jSD4+I1P1X5y21xLJg7Nkfsn44B2ju8Eg9aqsazoJ/C9WZbgBNp0mmw/hpB+BNgswZtX6h6xXXZ+iuJSZJyV3B6un1RH8sOgCLymKOiuCXbOvr8hN+ge5JjXjrVoxMhwa0rRxEwLZEU6YdXnvzfx5p116MrX0tF97xL1AOxPFOBH0x5QjjfioSPVg6FZwl2jNaws+G5Onm7Pg3D9IMS51Zh0PkY5gmAGiGwCx0PvRAw1IZH7McLVykV03+nEE3sF9a0u4tQLF/J1rHK/vBWFEt1Q3cNZWG5K7ZLCHQV4zw9NZ2NL3RF9TOj10eub2s90D87KZcgfHC8AR8xQjUqbNeOnIcF4VF1MH8FGUG8wiDYFLEnB6xp9AhNvxSkpxycRVfiNixNr7ogi/aBJy7/MUMe4Z1KWqDRh3E3AAzaDuvgrdw2k2b8m4r6fKHtBwxfX8m9rTWR1zCcBie4xaznouSARLqtBTqVhNx2SOCxPC5hasFyXD+Ec7UbU8uqfoxmHeTtUpDmD5u0wqQHIEoa2+nRBCGhzNjWfvEbFo6SCdCeZg5b+m6dYGsHRtiT5tSHFNuG8mEi5xGBE5R5gUppG5L4speGBPcsaY4QsM4wKPI8f0Dkoy6wGp9oiJX4FWAKX6yn+zl3AWI+4leBDNy+Ug5LENA0wYhcp36ADoZv87JDDTDOeKnAhUwNZ9Ychc+WlhP6duzw/UkB013cKCRNZnJ23JzmagHZxgAQOzxGyk0Py+B81kwy41ShhQ6ZmOBEnDaHaqd6qTiZr+MRkPdXSDuJUHQWqKP+LYf7Sy8d//TFrcTkvTAreNmWNhULga79ypCwfzYgN1qo4TTVcgs7eNjnMgaNtFknZIEQixqiTarg5HkiR7jbMDEZX7ScASwNqOuvBHLaLczAaRTgqO79fHeYxkimkXTETRTcUXiL1lQhSpd0wTkY6l+WETIQEx+qA8Lpl96nItAXHH3niZRw2jHqubZdk6tcBJ/971dq3RykQqZJ7RL8NQuSMWTuEq5PVBZx5QIY7S7UYKnMBVVA4UPpqcqW8pL9A9AMlOKXfTLuVLhH1V3wlQCbcYb6oygTCCJfnFNODJ5H6ZmVh/8H0Kg1drMpakUo/m8dW/Iw1dNfLDcLv5nLad6jVe4gQOLJb4EBxJ1avYjPpzK7TAhEa1ivLZiZ7cp9qVluak2Ibth1xuDohF3gCIFqfaS6+T962kyN7pq8ROiJg2Cd43zmbGEnZGHGqKALvaeyich1EZmEGT3xG4jRNhQlggY0AJgMlVeG43d1MAODawbs3e9sCxmzRN+B8Idr75i4uzng1Tk5pD5dhln75tvRkYaksh6o3y8yjTULZDq1Vx+d0VlInafui8CxWPzwhg06pO42flpFy7+mdNWHhSqao81wO6SecqN5KWnr7gh4l6Q66jFG08xtHqfMO8angAdNzrZDtpwetzdzNTikK5EzWsCIjPe5aSx32Bko7KYXlB0/iIGvZ3vK8lQmEQxvNFsO8Big29/1kw4j20q12pXb0iVtf3i2IkCEE+JLBs2/3xIfd4aH/AdxVlfIoyv1B3URQ1rQmwxzr7M9FV6s0NWJ3fHzeJcY7oyF2XcrokgxsfAmbXZFWGSm8luor9jKQkoQamzbtT7R5vS/IVy181bF3QP3wo52Q+FF5XKImzLodfGsPAHXvpMBR4P4jwiWkIZOOtXBMUy2Z1//UAnsDuRwmVqyNBUlOCRxqA/RF3d+qzjvtb8zLnvE/5e4LUJ9mxI4vnoAwYyO9nA6SjHGqpTUC7XGPzvFzrEHuHIpkQ9RT80sKZq7H9smpIyHFbe12GgzqhzFeSq11M/Napou4P5Kb0cPCVRw68MDVtqGcrpyxCqLi9lrcsUi8BQBXJ/QzgYRJeyJnmDrAzqcsdglWh5a1afBm9addrcVJfQs2ALLjnuo35Ja5RgIvjzO7BCPgo6r3zF+8eYSNdKvcTSkokGMJcHImW86da+rKPLUmW+iFsrNpgUvUZoIxC7C8wzg9FCiNC53gJM9UKwDLTXMb2PmG8K8RUa7MPh1P6dhYHG6mPKpcgXrukRTgNNf7+QcppAiXCFOJ65PODM89qvNs+33mEodKah9WVCjiGEoFC6Ln8ImdlsshIBTJnMA6sro2HQBGDRZShAvnUe5Vj0iyOirGPs2THVAjxTU/3hzNTqy8I/ZqY5pD83gPrtcIU+wPYNX7gNFgE29471I24am7iuNnr57M1eXoIE1yfAUnfTnsBA4Bgj6gTcQKR8w1DRH8rdD6UNIAfD5RSOKcLhpuHUvlsThcI4dz0qaUnmi260TPrv/dVjpWzb88IBvDGDYi3yFMQHcNpUVJ0TZDWP//JljKDoTXjCZyUiv3GPWJFroA2EEdsG6d7TCbb34xdrG+liHOeOKZKSax51X5Z7S4IdlH4GKLq2wP4VQysRfr52+e3U03iTPcMLZG9DjJARYOlvnYpSpG0n65i/TNxWOrWr3V2BXRg+AEnhjNbmg1nFHhcMat4KRPj6xVytDAZn5daulqN4kmxSZKfml6FjksvqgdjBhtdkf5Rdnlw6Zl1C1NnhCxHrDLuNoMwMnTfD/4Sv3OQY5u1rd4/U3PelzPjmcaFcYIGUMkocuq8ilhAHKMgORFrPQSEG4byze02XKIqIxfu3aJvZb+4Vr3v1mIA4x8Bp8Ap7JoFufgkx9j+BreZC+uV0pYVpQIrs/HitYCecIFBs6qddNJu7S+gZrsDWZ/pQeSLEI9QX/j1Lc4GhcnebM80/uQi9pcb43gkg/DMjpL9j56DGVcjUF2N+OilwjnD7uwYyzldbgu5YwfIxOIhAjuZUDeFk1SVuK8TAwTHY4dlfSjtRSom04jDXCQa7NQPgaAfK+k0qSB1P7bt8WWpY7Xoy0nn2qzm1oCFuZOV4FIgvG7XRW8aSQ6rdF/kNiw0z8+6C+HrC3crInTj1emSlWOGr7pUMJ0EGvcSWiLr42LGcZyiZ/7L6dWeaw1IPGCG5G6I6Dkk+mPyj/CBD3ibcieMX6zIOJq2BT7C2euJAu2bVpGVdE1WglYM7ET49lqp0yJ/cT3nxIEaBit1lDQSYrtD6vHHF+2B+ILRnsYxnqECtb7JQAx+kCZZdxKRDjzIDDz2OzzONJBm5RmJfAzxMHeaFzKmoV8qxSeShm/5WxNj7AUBdyBMCfLR39QVFIA/XpZnDme1nmxVV1Pe4NSvAjyqrXjA3aHe5kc4vJog8JRWslbMj2akLsBNBWfEAQAgPkKwpbiwhzin0YR3t+TD1U5O08+lW8EG9wVAy6BPw8v5fuGpuJ5y/23BOOWa8U4omyLfcyfOqLlZDCpDJhHojB0WtZOkA6sPti/POqptOWunhLEE4ZluCAJBeJaB3HtrJIH20ZTX+IshoCJCKNMubxvlJ/iuGQ4zW3Ex4sx/BsxMUXBdvV+akJIUS+BNWBoEbBx+WdIcmJ2yqs+7zMSQ1IGVzo5CtJBDxVSt0VeLH80oHxkLpfzgs97KeEy+sfCRuVJRSpGzSYPdKa2K+AbJJ/x5sdeA/cSUgszeEmz9Kv1lkCRe6VzZw4X8diUL49U9zCG/XfyvXMhA4XyQCZTzBk5qWDSSgo2ATcHjHxJCu4XCRWy/rSy66exF5VJ11NJv2RMNT8HF92CwROdqAUjhhKBhwtExPLTqgIMSW3LbudT4//C6axEPf9ccFOB94ZA0PM1kPAlHTgs1pdgKVdrBtHUigdzChqowBZ1h3yxeYWBqOZ/QvwFdOSxNCXcaq9i35cQFvwV1jrvrTagbtsxb4yHiQJ7ZqxyLRTJ3Fv5jVZPOU6jFtiy/aoTbgQbPhdd4hV0j5fcihh+s02ER5C/S6GkfFYLOig2hxgkqd9UcjtTbSxFibaz3N3ajiHYLZ/SKL2XnwR/Xb+c7lUCJsCij1SnggeL3NLgSFom1Gn6PiJEhN0ZJthS44hUlSEpGb/o0wkBLKqWrk6ye7liaRO58Go75w9dqrxfoZikmNU6cOG7PWX74qq23EGgBgLzX1YlNNWMpeFFvTEohzOfG8/45veMpGbtLoGhTaDN2w4bR/GaLPjZIvZIoezWvi9T0+ttQwxDB9w1MrWErhdkLfzY/LTZZ6NUfe0zz/t9eSZW5GVSwSv8acHxlkGNvfLyozaNTTBGv1Fi5Q4aIcKUXxfMxh+I1P8b721H6uAu6KQseZXobey3PvPIRQouNUMrnkKNMWzPuGMUt/2/rwBX7cU+QrdUC+PdMdQf5wApUvKg9eoe9acwRaxtD0W9MzQ6s9YOiuqHQ7dP4nCr0U6+6EFT6M0I2q/YL8f+02jlSXpGtcg08rgWT9n2ODVKyFpf8EKUKjtR/2IDdBluNs9hz4livxHCBJ895swWu6JUwsrhEYhZCAGaCSFzhWjJ3jkBYTOm4wnKWtPhq3DiYN2JNajF+0KxIDvpD5GW2hpts6Kbb4BcMTZtpsw7Uh8Ebfe6wZXg4tAALsbdODftaE8M08uHATECT+wB74PO3Y2skrlxuF1ThgBpRUpFRPy808f4vWvtBhcpqnB/9zgcbeVFFe+oQrUZJHrS50CYi/KkQ9UlOf2F/mHXup+f2Cs1Sw3B5Ryipszs2Ysd2uhc6ljqCg5EIoOZy0+/lSg8/uFzxGy813XsD77yekzE3NSLMDCttSHy2y/unokDTspRVNwb9QM5d70AP/7iFiyKZz44ct9BqrHhiJcgh+bay6w0nUdTPzN3qYJCLnrs63MdRLj34lRMWfp0P97WLVvxMocc5r8Rtdp5Bhxo388OiLyQNvn6E2qiN9mhz1aKYWTHUjAmoHi1PoemVbzFJopeVduhrKJLvD0YnTaKzLLEvw4l1jrWs2ebeWZXkdhZHrA8RA5Flc4Dzxy0W7Fi/8jZ0DoCjbthWqEKo08AiQfkiVLTq+q8CUmMcRUEV6DGhoAthhgCv8l2q/oNK4A6zoVJr2J1YZ1WpZEn/8tDGLKV7bt5eIJFbfKVXfzIXlLUtE+6H6OHnHAYBuh02uwSvq5ir6gXL+L5DHQ2xl8xq/hY4OyzV+BM4ll7mUrwBxvWY3Mg/pQFzXi6iQKj11ry5pGIugIrK5QMTfyDTOrqvtC9n0boZ4iplMGCWH69juw9sL3624muHGPS+neAJ3b/Tbs3UjvxPv3B+HA5X1+UnCkoNMmkfDS6l5Lah02s4PHdTG0VVzoOkGw57vhFssDnGjwEN1yoUfgXlZvDFiF1/DPhiyxax/AxcBJua6EHvBXeo5nC+jHAmtcAhQjiu9QrLSVFLsXZlLIh2bQLNOAinMjuRX9fH9l6MtdaGDv/ymyDyPv5z+eAKZBSajl4IQwKtrzlEm7v29AkiSsJLB4AYia9xkTFD5yyefqF61LqbZfXmW9R2k/yXar0h2y/cmb4xesewKJfV5pwF/kiReM05XgsGGQ9Vyd03EE7d2Lssw4V9mSb7COwX8WCRHC9NJXP6EiLJwbg5NZLXNWuM1+/A3VGfQpnDBzQclk+Tznn1gkP/zouBZp0THbO0KuX9bIJYt3JXuAmu0E8oi2kxOaEKW3eyeXkFBIGY1zwS6GFBl8HHtSYlHHf+Nt4cqg+cf9vfUrf7vWW+Jm3GBC451K7m6Gq68rKWuwtP4/8B8DbL/JOuCr7ANDAAwBzm/j8AO4P37xGSePwznK32+A68HnTWVtaxy4MIBAzPibmu2r3c0o8QANIdI2/Hfqjp9y5/Chesgt4hTXo9nSV8/+pyQEUsesMuAT/JtW8m3IdcQ8JZok3LfNxqg++GL+6DISZVcxA0+iN4ee3T2/KsA8tlA0B1X8tLVUz1TPbsnJ2o4CyTB3mcFyE2xbRe09GzYMjEEp+h/maV/X2UbODdfsixbVppvbACbPhreGhpkMYKo51w5Jv3o+5CbSQvUxiWo8hmKQb4ApLM7cNW2MTSEaM2MO8sHKuQM4OgVzH2Y8torTHlkRFl1W70OHqkMibaDGdfZTMK+AD1D5+YnQPxrNlWpMIWYlHjmnz1p0f1+WRHjsWe+E++uenfQxlrx6pQlHDYrti4ZSfTc4LZoinf13M417fw8lOfJ0Wezb+BAOtCzF/2IQkR2wiFamgdCkLcTZ+U7A5+jFYFlZ0WAs0o3gp/FtxN/4CYDJcip5o262dMyu506zSLuDZ1V/7i11g7YikZzZwmuoWDI3g7Kf5yI3y8UjHqZv8OhTJXBg7zGwj5bDDEaedcHSUzktYx8jNepVgqKtzhzx4QZmW6X4ku3jvOGzqCqW1fSUuEuk5k/Q0Tfw1yceP3DVbQiuoW7pV5ToZXauJxJgLquh7VILT8mBVX/zaxgAZzLMxYR32y2qyo8SPK5YgD8CB3fSdMTTXN8JRQaNQVOTRi8ja60X7ZDmklc3nEYbX/Yp7TOSQCvmyzR/fKQvkMZPOzQ3QYfWM66BmwHIuOih0PJCVoCsGv2ErZw6h/TuptbnhwrSn4yEeSfIJ35g0xC9Y4lXsnULTcR+7AgruVqAeFAwllqoOw3pwgrbkqV5Gq2MtUHtfg2em3UJj5mtUF1rybLYuqjlFz5oiwgj+8iFutzxKWun0WyC8FaIcBCHALH7MWbMr3Y0/CUAD0MBBiBRfEqgKjUDf6J2gQ8Z6lWqlniw1b2z0UFcf99pLMCzKtNK6eQatjDvHTRd79egDgH0WMBqyO1Yxb2i1A6gdsCEZ9ziOdJFY0XeZnDzotpMNfMZTWnbjum1pDu45Z8uNMepNxBJDh5E+l1Ghuh6As2bWfEkp08EEiVt5X1kwlxLb3c1OLpd+zHtyDq8xrAxY8g75WUxlt6imfdXnJsUUxlb0UphsMLo6AG2THJ+rabNi8AE3+5HGEkVHk7qY/4RRnJhJCtmKyfyFKDe9ygc3YwfsPz3luDCn3ABhCyH3IrBylcFC0Jl9GDC3TlKtQ9N+38wejnTV/a+GvbOBbGZufl75r0yLXnNWtVBRq4McDecZ0RA9jC+t6/Os7Ettu8OLuQrt3P0xDdgR31PIDzcSoKKZ/963Q+7VlHNAAsaw8rkCZ3C4KPPMwwtfKZT//KmNoOaVyOEVwEajVgKJQPmQ6aSs6bVwK1ztwjiRDV3SJmntLgDML/79GjMaDhuNQ9jcK1L+9Uc6UX9kUd8HXfXUFNHHJNVT0DefJPtD3yQz3tRh4iMInRaaEoAtRzegE0Xn+HEoqneVxn283LNmyms9Q13kgtm0NyMaFoGTFMRWgCxZhqKqhI3Q0iaXGuTlndYrEF3OgL5YHPrZtsVssUYIUX3IY6MhzCgK3i75vWtEhw4UF8dR9r42F/0SOpoY8bwpxYQ4/UZanlZ28wLS/jnGwKGu9K6S1dbPAZomcNWtZFsuhh+m3CwbuRtAMjaHR7u5McxItZRFLDXT7ehLu+RXHJWomWdMjxcsHcytG89Xj0oflilrv3dNHmuCO+CIAESeC3fLtAikly4FVayq6IkcPz2mLP3I9UdbKSY1R9epqEFBI22sXTywGe95jpxZ1GrPjGikBG9OTg+pfkYDX6XRc2oEsZzfJLcma0xsARPsjA8ivDeIV0XbnDD/oioYEHqmFyh3VRiJVhFdY3OUQUCSLSYyRskuvtK+5XDseztg5GeKWTjGJmy5wA0TFVTrDjoCEq46sygLBGW3PHRxO9hTbIuPNeg8+H5xxzJVnl9X5PLekaosmu+tsl1OVvJ05aJ74ASyMWmE2mtQL30+8soWMGqza/+7USjOFYz0kmH9ztNaIMKbogy36UThgft1JmabyGwI8MEwwPWwDniBvvBlY9zkoDmlCX/hQVasT0JGsVN7zUioW8GWbckpFvaYwm84Po3Z4lns3vJPntWyZ2uWelbxV+q/VTBQP0IbjeVnuWhDt/zXwOoZlsekyTxwydJvi6l3r3vTeK5OK+kxILLldAwcbYojxHcvcS4La7aEXy22Q6G7ApzjRmn5ZDtO4pPftTEByyRndqQai6O7HI3xCshdHGiksRcaepi8rXhFovXfP2nuhe+B2BchIS3SojuD/Agk3CNNBRdKuWYL8p3/+p/AopCH/xNxhJ7xALESY09bv9tihKNwA9v2yCpCzTCmT4ACsShXEv3K4biLqEe+JAIVpCLVrs+l0ZvKaC+4dXwyiOpA0gGbO2Zl8u91WW8HbgO6Dooz79gPTyll3pbE2k/3KjmguIAIvng7RhMbPpiM4y1DRC/G7qyymwhK9cwsqtKPBVKNx5Ag5ZbF2gioqiq11FP3OTJB0XDYlqz0mSkqQ5u9X8Bprrm38SflTBpXyK2fLYGNKBJPEH1bc9m3d/UnIEBb1rMk2X1Bf3IDYDhkxU08QcwiWwJpPiAemR2Ij/McY4tEjwGW3jsd56S7qJ0H/maTZeMSVmrfzj3IemznOOBjzta1EByeQ4FLb4iVgTrq6dd4n9SMpF6bRMkJzezPcJGYAefeZ45cuw6UwNczrgIDKKSHvFI2uYfRn3XwNrvMZb+0XrEBy2VgBbGUHy1T2I0qzThYjJYe4tbai38VzMpUzx9Af8Let476o0S1kw71xJQfaghuiEJsWCg378ahll7WbOh//tpMFEXHaBWsWVY4H2Eoe3OEUoEWOb1lAxP4Liy7lV7NxzjszQm5obep1FWGQOi3AJQ7NVI/7aq1gEJHsMITB/8rJp/Xm1FnyOxHNvxygQLnQJkI6KPuHDtZt9AudlXGeszlcq+dJIiAYq7wgGZUIkQUgBGxsEQWMR+lGj1VUaWdR8TBha64IuxgZ8MmFvqOkWFs9mZoJu1975st+RZUulFqa/g0ll24NdglpJklfkfOhuOd9OUsI1QFHzhq0RU9uN57pE/vEtPeOjWrrAjuzTONc4l2l6zwaM7MtjT2yYbuyjf40rBo1NKt47tVuWTuCvsQPeCJEq2IZfKTc7V8Hw8zV2i45yd8pmYG+J/UKLncFFdTGcjdmV2XmtruolY+ijZe5FHOf8Xy2n0wKUbJ9+ZtuD1ga6bU5GZErOuJtmbsLajQRjLMQJDiQL9VAtIG73ZHsEpTFTbKLPSnNI854K/zPN1sffVoV+CDUAXKCl4vwOQWmijlMuMxeV/UaN/vBof1/HSQ+K0b2VrhGAOHiizafrGMYcDx9mOBM2INGnQR+IgiDJ11kY23KlFCd61/L0bs1yVL35Fl2hddMtr2DsMH0kmHXBN4FdDP/5j8E7MCEav5vNO0Qodhde7TqGbFMO/aypv3SkgoKnn7OfHVdER3yyI01GpJHFoLDNTZsSrgFl5WM9nA7ft2uyaFGFmttVIDtmWSc5EDgHybLm/kOpdPyEQzyMHuR/KzZti0Yi2NNuGVEWYdRywhdwqChkSAVKlh3a9vB0cN2qiDvwvt96XOcMQO2VCxEgjIRlJVdMKSyozlLhbvvERU3tq+1nT31z8bicQXnSCcJCez7gHOFd39S5jC0Lnc2dA1c9E/QRggx0r4iYrDU3O6IV/KwRio03OVyKsay9K3H1d4xTlrkZz55ctBKBCxwVHSUHz/01vzuWdwKgwXWAp12VklF/Mv/T0KZAY7li/b8H3gBue12FNPQw+MEA8/EbmiX2G9f2g9y7JxOj3+kBmYpy8m25CgzH14nKb0nUPaOYQ+Dc9gQ0SNVgn06uFbcjcOKZWRB9mR74dCCD4RYr6pgOMBtU/FOpXY7JqqwzHSTLum41V4rF2CrVqBUYVe1o463VBp/wvXY0bObDqDu5LmKZmK/2qnKjLU9gcVySEl+RENXZ4A3ocUM1krHbSDZnUY9c/5/qm3wPrQJnjyhOOAKvTcvHe0RojeZXR5ZP4mrkjQdjbnh9UNV5Vpzb/HsgYa8V8G5HKKHCIWsOVx62S7NBQg8p6YdVvWs9Hxdkm2yu7hO+esnHQhvMfIy/Xyn/OntPpTYB80g9xkSaJ15ubTLX6woc6KT8IK9ruMpL5Ri/YOUXeMvK+T3pqklMLq6Ia9Qk8RsmpPPZkxu2SFS+X8AzgL2Q3OsSqBNFEnmNUhUbYIWUUFMf+buGHHwst0smeqqqBai2Z9+JfFEvQ+9tDV3sO7qnmx5jGAe2l4gF/7Wt8dLhnngxZfb6tyS2c68uLVuapIJ2oXzTMXZuncMsrqOh9AOjPHnGzOgpoU+k0SPrrpkWgzkWgvYHL0k7tn477HzXQrpdDtulvvfA4DIAV14SYN1vvEQP5Nacw1BMdmgX5S5iXF3TPUNJJVH1st6p4M0gmA2nQ2BeGmHLdx2oUZrq+4T/0zeXInmXMUK1S2uCmvkyszWcC9gNhrq5KkI14pmtUv4T1JB44OXi6mgbep4Aq/F0yiAQbn0S03b2hKUUQmOKGxKIq8W/oEb0NvofvocvIY/KfaCSlg+UETaP2LZzGrJmzP+rtOyOujSCRMCbMI27LpP6FAcz+mWBPnQzgso/cgU4x+nA9t6wSsyzcWeqMcRYrRvPWwGras42DD1F33IB743XExlMXx+ONqDX4gAfcNtIW27pIjyBasqLHnxB6924qhyfhvRYnGyawFzdkv+UIt2eXrKY3mBy+8bbAMznLb7zvW+7GBQaslM3N5XAyg3KQxGazzmfPFzBLISomftBbCkPBrLz8LKADrebNNpzoyDcbi/tZO8C44dt3miCY+J0/yUtgMlPde07k9D5+V7CHIyaFsJJbmxURvJ4NidvYiEXyKgimGMnYWineBXnImJhxFuJzgEYOKXf2lgrsIBlkrtJxMujKI+eDk1SydRQbHHN3oel/Dl7idaOVU4Kgs+wVWFiyKp3yuozhdC8xcL3BqmjlCqHEDZNinJfhDkeVXaJo0bXjUOdBHlDm6HzBEAmLBLWmAIFwocz6RLsVX9Ut4w4TPYaae99iq37iXPAp3FdMPEefXSEVQOu2bJVGP5JLyHziNpZiQYitJ7VenwqC/vnrqENiVbDFaIwlpzRBgN2tDXpgyOFO5CcYLhX3SvMwK9d7x1EVAQEmei/tLpyZohvFJNbcaSEJ0T7kBLFOue/nEdm9NtJ0Cxn29ZYLZpQ8hxXJYo3o+F40Z0xx5fEzlEjwEIF/3igi6JWTbeyP8ZkMkzCfCsQveADIZ8V4omB3Z7c3j4f/Pf39JpERnQOFv8dtmWWER42OBKtzckl5yRkokr3t5eSrj1BdM0ZziMqpwIa+zouqXdSwZaoAFlI7Xf6NTujoEHlpBiRLiytI3SQq8aJ75jF+5lLfpVQWvs8Zfh8N8CfOC7jt+vOYumVZlGRns+VZ8rROD/tWQvqg7+dZxKdL60hd7Lawt1V4l/0k4XaooY4Pf5t71gy3rz9vBFjHKTyV9JpNyReB3+gnDBXx8nLXBtlemH0pAYlwTh7pPaYtPYgdNsEHrlo8sd/dGeQQyOb/fmIsiiNpRTPuMFu3DrEPA214zPM7aTknjz1uTiAdXY0WASuJRHSY8DU1qpZ0ObFWmkeqXdA+vJxQsW0k3Ds6PGNVyy3HsX32IBpXeH0gpA0CCBhK24zc7KPhdvhkgiuqr646FOm96MPv87hlZsDvAscrwp2ohdJwEEcGbtdGPFmloLB6uP3jCpNB/crWshgnabnFoHQbfWVJwXV5t4o0zH/46K35NfsfnvbS5d0Lu8VpLvqY11Apf0FZhd1OCRNlrp9a+abA2djmTQWMJoUhQeEWZOx1xML4x9uQE4Ex50YBLVon8RF2K8jPQd9Fjb5H7s03dHkFsu7AX5X4I81Q/xD68YeOXh4nns1s6NwQmeTUX+wSVwG1oRDYZlC6tOLLcYP+gJgIISq+FLGFPPvu0hc7N7yAPS09xnxM7tHGlkiE/TZ3axZp4OJnPxoS0Cpxg4TNOgnY3LqeUOMyQspX4bWpXuYmipXKjKPGe4FhymmQWv6hWEF7EgdN+nZMcoCXxr8sKraCporlSnkJeb9ElTIoUQ3QHwUjJCxIyeDxPqHlN4Ax47G51Ru6HUYU9+QcvC37dLW8uQ4Bh2AAF0bAwRUNRFODJUSNB/1oCx7Ciy/XA2bQzLkf9MZkBBiChXkULrZ/WjJVPUqJuaqJL7+OhwdPZYUFhQJrSsWcKXPxOtbtEzn6mbI1MzgDMKtddPcS5mIvQukg6Vm843x/Ubvb3UyTFOjlpT7jiJAGSZA4H2hNLyvfGQgVNkX5Efk81u3puvg+HiB4AY3Kq24UrgEWx9htMjbFiMnPZlpOWNJ+9bZHUnd7IrQ9mOKyYDq5wzxvEbn+jm0982vmMKNf/rXVBSVKdO/dOkVJpM80X3jsAi9vunA/zHe4R0NH2bNIak9qVsh19Z9xeO35LrI3lQh4I6g2j8/luHJmsP7YiNl/wFZUQ5rpbaYEGVgIyS/tZYzVOujV1pocPRnvPkZXz9pawdFPlGpSqyLijCGOHX8WSv8wZVgD8P1LNhkbX57CPlipCERThpUp2OoJlr6cosvlTF3uH6YZ4uQr455cefdw/P8hLTNXzQrLXtB7cZwf3urLZRJr0NSY7ue+59dAQGwOPCqSL7M+3RZLEZijdM8cgKZkYB6+OVu6pPaKDBYP7EVuAsLXUqt2dem0DCo4mWLg6GV0PmyTCtXAHEdTReVt1Vqya7ZOoEeFJs7rr0e+KLDGPcCmpUoRThEYs24mvO349uEV6MG+aWsmFS8mno1DYtpZ/znAL9dxplwYioxFy0GiTpPvjLVHNNhrw26zMIC9wCNGaNuonATpDcnUKOmKUOMJOSX9ao9C/W/s68APee9bdtE3/paqENo4k3mF2pqvYF1teJGLx7rF3qR/xmok7A84yISouO6fBgXS+bCkadc0ktDYAFgHtZNoBZL4B8LcRH6g/p3ZHiKAJ79eEaqkIpf+E2RNBwODFSpxhT4hwf0L1j+B97/xQFBB/O9IfcvmpgQdv+YJnlbNGEXnm2+k+czD342cWQIxmKMT9tP+lnJSTZXVZu/1kSinOnKsUOrZv/0XL5I4HGCcj23DtS5uCGYfy9XKprRZHwKSoN7WT2lu1JVPxHvsmW/GlrNaF/13sE73gsVmswtqemz6uvvCAdTqLvxtZxZCzw9lh+Ykpiib78y6zn8GzvqYCATrz2zcaaS9nYQOS+TNnPHPEImto5d2UMG9/yaP4zExw+BkKImf+KinuHKbPVchAUdIK8RzS9d8TT+qsudx/DDqZLzB2T0f/+A34EJmSgVsrTf51ItEWiZZvBvatXQrJsICWrOtowtbB4vH/6zBbIbU3p4uDN7EWhBfmHKaP+xFIcQ1EuoNGrpuMaofFL80BQDFDlbEW0a8Ox9b2+ncnNVk4NeAqynYmLyFaH8q6T8GFPfOkrekESJPjoNawQLfk70CxRm1RIXy6Z4o76T02AtZz/2aT01XKFxzoh/sgqGEh3XHkYrsbkJOlH5gPNBBQWJ42KZTmlQzxPtp5FEMj4DRWjNvoYaUfngG+C5abti5cTYWIAcIghZKMMLNGXw7PviM7IWkwyP2yNgTLSaAcl21nUufWgqS6jqSMPEA6f/NxsIZwmUva4KbB8mQjZt5EaRbSDoah97iok7c5cM9O/USlkPA0JxQZB5N2Cj+4t28XpxT8b86ulWnsu1XkayhEC1RmqJy7z4LnOUrdci8FdksXoNglRxHXkf+OfKXTY7Ea3snzNBLet993d+V6343K661o1F5UVEHsumb0kZOiON80S4NxqWxQHVrfPRf/adMBCFpQn3YjawFAOtdkyqON6G6i0WNy+vdTKoK+Rkw4hX5oplHKhm0J61vCkXP07u90sYsWR4ezSNCUzBXR37VdcCyppulL48x1XpZwJYK4oOwN3zzHVTHriAlRC4c46b1zAp41yM+RvJ0XG7lI7FZcY+7VuffTNPT9/Y14BuQOYetUsflepK2id86uMfo7jjrFSQT2ysuv0WWrF1eIf6zDhQ/FCmuHWkhpwOOEZhjlEpazJV14wBvzN9+ece7uwXOpWEUVhHtPd3VslF/LrhL26L6uganO2Hl+BVQRmJVjkUINaIONjGR0vpXDvdi/riVTxEFePb1Zkx7HZr0dErBhdKUO5MG6SGuS15RqNvCqv9XEHnzBb7E9UiIUjikj9QTygw54PBf+tR9KNsf0g3jzz1psesEGIHpKQH4/F/4PIHe1CIrZnRJVl4JfJZcspyegOBLo6UEKrN2nLegSjGZrgFrXqLLdg7uZPiMhRSYLVl06z9Yy2By7KFZZQ5w+gMlNjz1A5j26jZzOT64/Ug+T3Cz/XYWDNQ4+j/r2pWEMEpBC0ueTKYjHeTt6q8Wa/s3R2Bjkm7whK+FFimbfIh+EmGWJ/Qpek9os4t0w2NDgbLP1mfeeLz+j0kkaEA+gDI4d+swpeCyE+ii2eja79UiAQgtFpI0zgZZBDFVRdH17AiaK0UHp+bULDwTsI+YBDj33oWN+qZph6ho/J" title="Mekko Graphics Chart">
            <a:extLst>
              <a:ext uri="{FF2B5EF4-FFF2-40B4-BE49-F238E27FC236}">
                <a16:creationId xmlns:a16="http://schemas.microsoft.com/office/drawing/2014/main" id="{8DA4020F-0F65-4F44-A434-F149F3EC2661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3018" y="1722020"/>
            <a:ext cx="2713517" cy="4879340"/>
          </a:xfrm>
          <a:prstGeom prst="rect">
            <a:avLst/>
          </a:prstGeom>
          <a:blipFill>
            <a:blip r:embed="rId8">
              <a:lum/>
            </a:blip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 descr="Enter Chart Description Here:&#10;&#10;End of Chart Description&#10;DO NOT ALTER TEXT BELOW THIS POINT! IF YOU DO YOUR CHART WILL NOT BE EDITABLE!&#10;mkkoexcel__~~~~~~0~~~~False~~False~~Falsemkko__4HooU0THZk28POP9trq+pbTvvzd/gcV8t56cq85kb3NDTsUhojRA0EsgEHHMH7oYP1SYpn09ysXVivguJdhTvfyVMsBLTGvcX7WPTor/CmWprsQcMwHG1A0zlmK2EkOrzo3YLDlCw/0V5AWs/qpyARc9eZ+OSWoRBchU8IbrYzI2HC/cNuHpYJeL7t0avTCDTgNxnG6SnTsXoYwwgwpla3kzgM1ycFGUKghKcFfqjgvyTYSfoSYX7CQPT4YiXFcJcBNelRRe3cq3yzF+GYRVT7ONSoglej6NyO3O0EdNLNO/DSX/JNxV5H2yZDVd/5Cg+GQzen6cSNqXOv3Pf+Tpoj6S53YI3CFSkuzlcxWET/Ba15j0Xc7qWgKSdnDcR4mrGa1K7UEruUkwBEfmsSXJ0GKOlMYfdiVY89Pkd1tFsX/IRuCZWlBvWAsSdkPjE7uYTcKhU36adT97/rb7PBp2oOo1Wxa8hTAoLQWluifop3Ck+LfPE1WQeJ9h1Xb2Ix/8JO0dE4kyvrDbTiZpNUTpkiBwv4Tp5TW7ivKsYHjGBoD6FzI4s6VIij7p8LZF20YZwaRf9MoZ+2LRPFbDXl1a+pLcDf1mRg8ZHOiBi3vVzO0mouTRHsaY9awjg8z55fra5Cye/faWafY5SdB1aKHGcyA9lMZcZcfeZ1d3bkime3Y5nZsXhjqAJLuB/qhfWatUNMJsga4Dy3foGRahZDAqYAL9skdvVuH7eZEcSigV8bSPz85rz4tLEDLgnF0Arr1+wSMzfSq3l8uKFt/OtEDQTmexj7elifowLsIHdA9dXxUg8I0rogNvDZOAxPxUY2ZiGJlbIP4HHSJvhDw2Si3ha9Z4KGeFPkYfLsoxH3lDVf8GeUafKjWoHWpDlx0/0zVuCURy4YeVhaERQ/TnJGhu5SgDxbcRdJJUyIjWhPageI7eXZZ/i7bDAKB0X3YbLUje0BQsNJRC+tem44SuDHrCCEXWBPkk0D9PBPNR9meYfwkazPzCYFG78pUxrF/f5HSDCFtw0akgsuia2tVSM6JJcgX17GkNxgTqiakOKOKyPdQdAo9U2DYk+Bhgiuo9YKCtR1o0iOhTHUOOl+OSBAzm+DCTEhugmYZbZHyNZ8vogMPlI1Mo8M+RNrkDSTrjFDJO7nFv/iPh+V+P2Sc8z7UEMGHu6FoKSd7be7CxubzCaakEgYFpDNP5lPuljd0/yPvTGHM2CNOY27e1lTSMSKdbU9+bjokfvBD6A5WfWAwp+cXbWszfvQZcy4m6UquoIFOCBEME+IBHF13zRJ6V3UvHdnhTkERRljgmDPyNEcziyNrQnzeWGsM2U25VK0+qW2tVY1xpoownDFeLTEcBenv3PV5mJxLosRImpxuSCJER7q7N0qf4HxVgx075Y2GXeGKHfM3XQDg8ErcomkVVvNUoWMns2FXEO+RMns61ZZ02zOVOoypB8r61reyvnX4+Alq9m5ZjDyN6VHc/T48+fYaE1AX4BtT98aUAq5EqzE0mIrw6AfKqHToA0GDP1tp8WHSO2G5TufN/mDk5RObT26mz2khUNJve36EII/YVIUYNLc8bVFSwrqnAk93uFCAZ0eaDbypgnxLzhJwmzkbiANS4728Mu/FzbveuyIi+7VHML5Zuz4N/8KLxWO4e0QFrhsTad1Dpsxzm63hOGo7QTGfEngnBjxK8vlo8HSyQIlVufhLtj28O1wu3L9IQqMNlhXVlGcxtjo1WtCL/OOd3XjNTD89ffoxHlO9xlBjqlS5PGpafI5XjumoUWd1SyWEt27EktF0O5ElphP0CEpg3ow+uQOEiVIXHRCNjgFVEGXsUX5AIQGaLX32cPH0uUPYBQ59HDsk0Zac+vV0LZrxRqjyxKcVDNvVdjmkWFvj1eAix0xxYQT86o+i9er3zn/aQ2urijUvgXALVnO+XuIPinsHSxnShyRjZ+WAaLN8zTitldfFAqHMi0GwitFadAB8xAfyQ0Fz+Gq+UOgTGral9F2qHkljB84RDVKu9zMe3U1ooZ7F843Xjo9yzCOVo/4pINL4fh2bwQbK14f3nP1g4Vb1DCXBP5EjJtJ8KXzotOWWc0/ujrEckrFWrV3lHvAyU9P16/CpgljC5maGrQA9iNMDMnIRfJUEOwDqE8rl6hpJBOnPbNn8Rcd6T6pu4CUqdQicr9j00WZfw1KIBMH8outRd9ARJL6FuCzF4ngPP18Io/0neSkdAtATt0jTQXVHbauN7kKJFk6ju+d1EWeCeT4P+d0vC92V5YxhpX3lE1ZkQ/1iAb1WLlp9q5IBbpcKcVC4eC5jrxD7PWIUReWL+DReFkgj2j1cIDwQWzWje84jgASd/oBfNVqItnB4tBgSZXXJRiAM3uvDJqEOGeB0hhQFA0YW1azcDZ3Jae33XKPBuBeci9WXRpOXH+gwF8mhHVo8j52CNboKVHcIWbeg68K6gz28CNgCEVFKWuIyjpNBTNvVgLBd6ZRXmJkZw0pTB9IomnW0YRu+Ax3oE1uGPSaLk9YYX7sY8hYcmL107AEOkk8fmEqGPm3zqCwMzlAHhEa5vKrPhg46KXeu/G3avOF16svxdr5Twooj4/MXYP7OHOrb/uREypswCZYdNW/BvCQTnWkYUBnZfTqqVif/ArDVEFXK6Aol3Q2fOlzrQwG8Vq8t99sTAX+RwxcxrELf4YASrpWVi56hUSmRLoHkdTAaJPHIqbSjOUc4vgAlEY1BwSS/UONMV8Lo3LCAtn0XRL0FlXSSL9W6nAToqnO39eHXVPnmjXTW4kynZ5q1JAsiQlbciUCLKxw3+1d+LoOwFLqek4CpRkpsBqF1vFwRHT7kf6AUCSQg4cyR+01xVystxj9XFll1qhwgPFCfxDFrvrPJH7l23Gig8SQZxK+W2i39PJlNO4jb/H7dnOQ+P6LFINdBNcHjs7M7ERaHS1+l69GUjUqOHbKltbdtrJKIKoNgAecp/+QSu4DediaL7MaW9Xcbj0E9Fl9jTWE4pwCvYOrPs+zZWI/9IW5svSFnT4kM3YucxSVyJfy8+UFw4WiQhi5d9Au5oPhllbi4kwkXoBIuQracKCjm7ZoSJVrHlWJuDt6m1+TRwBtx6j7UYmWEDSDnu9G2kdIuFetEY3w+FhNzhpU4dCKsQrlzPpL6WqEzLXa3tk/fHsgPzo8czef/tNIR7FFhZXDuKzK5Cmxnod7pVQlTV+3a9tpL8tKBuhxTEOo61UocnHEFOMDTX6NGKJ4U38zDKWRKaYi681EHC65TZJzsVCqE7k1fNLurih89x3pSN1C1kbmBHox1iLQkIUtIuugCoHTDTNXEu7yhN+8NcYQOuw0vo3XbD0JKvkC3Ixe0hT7s9liDgSrLFM3HK2Xy59mO1kZ/bLrKzZmbCscvI4nNT2IReHXx7ssTncHYCQZ1TIoO7mXqxNVVj9Kda+MGcEZ+p1jrApbXD07O23q+dJqhyGeYO+M9Mni7SmCKIgEIkV0YN/xJ++HmOMfIyLM/lqNJBYTTaiM+SF+25NgFp+thudkXf7Mrm/Z+hEJYHPQaEhFaT4psU+F+jnDhhCS2uQQmORgdtHb3RTtkcbAK/3Uq6nlHxKibm1McymT/AVDGKy70zvD0ZXt4F84hzvUvmR5XpHKZWRyCsVz0y0koxS2xDjewNjqCr2nLFXr8oUeyyOU4e5ARqUBxZqeJUiEKpHaaULuYsZ/QGrd4zqzuk0l3DvH33lXuE+Ij66FErwmx1GTSHW+bI2HAfsm1MG79006XI3n/i7LZTvD1+0YeuyrxSgZKvpqJjwj/kcNidGGk+ohWdo4WywKeLAV2njD5cFHGO1W0OdHG2rKfcxcdLYeFIQE2nO0lSc+Xb4feDBEHEaOcmkHy1yJwvuohMRjl19RZJJiMk6+siwa8b4pGAo7L04iZCuPY/M2O6i1qLjzl4FOw/P4jSJavNvlE9QkHvYQoyA2EDG8HGck6QaGddF02qtRLlMoxQfzlcb/iOziIDKWNXcn9bUdFGv2nC8ZdCmh7s72XzelzS5lxypyJRAIczfz6oLuXGqL/K62TSYIBpgZyKkPJGqiW7hdkvqMT303aPal9RQ+0ftWO4m+NTmmr0e43FwsRWGlRFev+U4u6MUNKv4+Xti6qTwutZrKJG+TqG3251IjRYhGSHUrrcu3zfDQ1Svo4jYF/gfFMHYsfDpPDckI2fX29uelM6vDXCxgBuNduxjCclzU0vLumDtooEZALs1GRc0P0yEEvBD0GiiuBYMniCsOpXUwpgnToiNMU6fxDriU2WbqsvAM3JhIlQLWHKMf68OVOLYRAqOnFHYBgWzMultCx/TmZXVaW3n0oRGU9HPuAfGURICuapukYzObgGnkzxG5FchYipEQeRxlr9rlwL707i8YnLHv2SxHvBtT9WXFnMfRYgIhdVmbPRlIbc/y6ja9loarozXM3zlmO72m11UoHgzipV+xl2H3v2pMjJuxjg+I1XbgVfRj1Ik3sdWlA+lH1KIFrT1Dc+H1MtaMNyLyZfpQOLFwk0bNFHjDxQeQxxdGOxl8isw7BRxXTV435lfwx7vWmnbrQ3Ud8uIJqYrEIGx5Uhl4MbIC57p7mmZS91VfIs9KePI9Lq9xmAqoELQC6fB47MKibUd7zs5M8fOumjth1+jgpQ3kHJmSs4yKBYPgwtIipFgyNbsBdHGMo+Cmdd243s3m25eXK4xqQXRWyET9NPcW0RvPgMUzGj/2sfNvMXZa9JJsjL1DO8jiVWtgmK3uSm4HODa85573SAyR9Fij3vW7ew0PODMrqOIaUQq2OTvUdmcNqVJ5mPSEpr5zkUGpZaC9paA4PsNE5r13gsVb10aP2MhvjHsOn7Q/a/oJ9pyHouqj998jFJ8x+8ixbv0VAbccWEjlC19xxBaNdd3wsdfgd1XOwUJcovZ9VhD13a74iXJtSy8kbGtAC1XzUE/xzW1qx+aobyYbH/ws7yE9mHYcFBYD+E0hS0m7o0nWQYWGSnCTuxKWzgLDHoHuhIRRMhGQRXMOWfttOkjtz8N0dupdtrYrM2rq+qWF6fMqz+p9bwu3ZflGw/z6PTLxU/h0uq5MPuaHWjFsNs9FiCClcavYdrZ3Z4FwiigpfGrVOdgIH8R+Qmp+UjYnfiUc6viZ7WQfG1PTITqpaLfHiLe2Um2bVwsnu3cHTznITLjf/qhikVrGqqTXMr/q0TuYpub9xo+r3ZPHZrsQd30JxK6D12R4YtFwEiNU8UjCExcAVimmeOwI81Z/GU/ygM+QZ08DX6hrF8dThaDqcKCnBzJ/uKh7oCGfi+efTYIWMlxjTxcwj2h0Az6eaBW5Ixx2/Ob7/z0goS5mIJkI9GFyh6BCYFIhlCKSLpSVEbA/G14h+WdU+8g9xt21aBdfycpztl2/I/KbvPaKPzTPfnGuiecC8MkHyBNKNJ5YWs8vkuRVhAq8PJFCuq/Bp07OK/nz+yx02Y2Hj9X2dLvoojOAKcNPwCcCerllWmba3AgWpjluR+Rwzser4M74RrN0zcTfxo5JPMEAGrw/6jWaRQPe6T5lFyscGrdW3KXasYkQlt4Xs9H+CyHAEAiCPk7uzb6SVd63GnwhDTLH2VvNQYjgLRUqVO3u2olmvs03YKKCfuiUUV78JwNh+tMDPxbIGfbA/+pZyl8n3wywpTG5Z30jxJUKEqe6ctAR+I0KLqCU4+R6UTLTX6J3QAc7pQrAg35sWTcm3fdamDLmmKJhWDpkbVv1pNJiEOw3i8b++FcOwKx2M+YjaS5sOPOIMgcmCrhpTotS6ESxQm9uA3kgaM1frFrNDur/2J1D9zR6oEY+lkbQbDMme2oAN2zQg8niqJNQdq0qmYLLWBKZ2SvYKrwuICvkT/vu0TFWqn/Cud4z9t/MTUDdcArxDtm06an+nTBqvEPSLbHTNN4jKbxaFYorCz8LLM7YZ5BJCZdf4Wn9Jnqyr6Ge0AvCG53BXEtN5KMPcsWXAFJg7rlUd9cH01yWpMxVG9Qp0J0shESGp11pN3I+e7fIquug891cuCFx4jthNxPWR25dhd5PeWAhTndqCyxNxU5YldKIBJ2YGrxKrUb6j4wS36vtwzluXXqZvfE3xSf4D+VaDsR+LOYA0SL549B00i3dHjtgidHTP2ShD7nQGDveIrC9cq7ebp2X2WHeylKSJWWpBQd19ixluswfkbiO4NQKUcsh+ygxk09LxvXAX/GdfCmtvbji7d9H66BgnvETAysx5PE+B04eFG0SYnL5apDNBTCAMBxPUeRoeyWiQ/ndIunKV6krFLBeKxrY+s9ltWLTV5ALe1QV4q8a8Sy0HICsZqLI/BMA6Ih1GuWDH0HYNIonpJDJPNG86KGy23Tk86siABvFzJxE9rDeqrFOhaBwextJkXXGRCQ+B6reMhed9ba+YhWp6+qvi/wBjwxyKBFUcADafl22bbWHXeh+Q4tbYBF+UH35YSSXcPR3NFoK5DQt9U2hMmAJocav9/voePpucKmOcg/t121fpuhkwdxohIYmgblb/BGoB5bo8C9p+I22aLt7XO6+Im0rylDKRHUsR5+QFq9WFc35hfVcoA//WitXWcx3JgMgv3kZ2Xe5oAkx93DSliCJAFm8ZzX1R71FNQledxkyrodzIsOlJrYoOiNSjiklUj4Trk1QqqeU1NBmCMNzCROqqauGjEw/60m5O5iRYQ4Azi7QdACxFtA/yoUtleim5o+xsU9/9wlgytObCVSFXdeIZdjDkMhoqBSQVWvkkg44xWsglkQzwW/kOddzATIE3RfrUKKrexeSVNlmRVn35BtAn+AZPKm9SHNMQ8SWl5zqD3pXpMkBedBn1K+Tq0Yxq3GdLBb4HBWXOY0K2o2P1iiYNYtPtsqkWHX1ZSFuTiGCsFhgo0TsyPGTGEgg8lvU/JIsyHnzEvvpGCuY32FSSLVuOBBYRUluSXLGa/feI5XH2LC2EamGpFqa9dffmLfNwZ08Losg5lQOr81coCh+PmBQyBK4l5+q1PZ7mytqyms0nsoCB9abzW0622G5K7wpmjsUkF9+n3Z0AYkAWKIPwcjIAw4/GIi5KjgUqJKzAJqHbovU8hi5CcW6oHsv+EBvjg1aPlwwe3MyB/ZnO34Tpvnwck6z1AcUXHLQOgSFIWQxTeMMnrDz2TNLjUHB09dnr0aKXLyid4f8vSx7BlDC/QncBlFMbqn1wLKUr+BOGz5d7fpN4RPtpjsOOwKCySzMccvUWZ9xAo++n55uOLZGWKNzijILY2ULKc9YIMrG/2DQ71ehmpdWOx9IXlHU8JObMEpjqgs+rxUgb66EoUtjFN4blEQ0qp+if42bjTRknpUtzW26lwrbTWt//u0DmSh4M3eu4GCLH0QpHQ79OCg1fxBBDvQHtR1wsG+GhgpwQ0YdwEPAWs+rnVnghslxG10dZHwkBE5hm0Ega/aGqJ9sf7OlvF690o494xkKAqwaUpbnqE5yzpQdcxsScqvoOzdgdL7IL9SoA/oq/DLVPIRVknVggDSleojK4Nuz/Nsjag8KSYhg+N035FlUfwUe1F+phGp1kqQz6MvmhaTxiYmXlPovQb9aC5OgsdfBopGO7rdHx5cksLtiAUoHt01SDRiX7UNHG5+pAwUPb61qqTHP5NpcCDIB8ooHiJC/rjg0TJnniRu/qYKftyA4U8q6pKrbSKRWjWEWvzncpPyLR1ijd5Nuk42EjwpAVn2Mxzv20fhfvjG51Dim+GaJXdedC3tYje+Ok9GzVA2kwB/iFWZn5jnZuO4fo/IRtIhArLA++hAd4HNQrVjkrPvNkYodP1b9UV/Lv5uCKw80A1NcvXspAAo7k9T7c1NbixnrvsGnFc+4zLr5E487Oy2o6OalD0pTq6E+zKdng5KFMEyGpj7sffmDnG291P+s1aQ3aWbJR7TV0EXf6v7fRmURdbxKC9HpWiXaytWex2SO46Zq54MHorGSIEwqf0/LpkHxykCmD1PWoXey7qqjeyDDv4ab7Xqn/dOKPZXnwN4GNOV8Q0a9ZhN/yiXBMtAX4t3Uf+xb2eH/U4b8WJ9LHolguR8G+0TW7X1bNXD5oV3nR78bwS1GRFh7idohiYvu5xpRIWOXdaL3KrUObZQo0O6nhAVAjq1zM1oDS82txZ0JobeCCMbe5kZtOvMdnuDBZN9pUI1J2pcTHoIB4OiKBzs2JnnmroDoOVza9jV8jJu21/ttt/q6wTdHoEwWw9iqgebP05LspSYV57VsU72Eu4o8lHi/9qktK+cuBejBpI8maUU8qslojpVn31irC8J5+eu3tmDDlA4LIxRLDVqy2EFZZaZaBfCKV/eBXWpZdnjeVTYAeYoQt5wWINbOfg+htpuq9my2HCQ8XSFoIYH+wFIt+CMX4QPQsUZV7c5OPo+Cs1L4LrOaYt18pIYaJZj3Hy/Ntjqk5kdcNYRQnLPAkYmHAK7vc6FCBg9W1OPYAjJLW2Zq8nsmdyOu7FNRLbQj53BL2dlcns83rLxHwsTkYyB8PbgXQ8IWF3Mum+0ObYwHjQ/0GC1t591SJjosba/A9bLF1sH7gNHqyJkefNyk9C5xbcS3xzGOqulGEggLCnknoWucpnoVlB7+CSt2e639D9qGa3RBtITAH18wemNAvUyk2g2K3kl+DtcYaL6tuwac9AspBzo5UlHO9UtIVEpqnhQ3Lh7B1+TtSJt/aiMfGVJqGiwfb9K0oKArL2RLxfo4XYskA3N06/oAIoow4H6cdmj40/6WznQ09wXehPba2wxyLKHj488mfNgd6+7fksHS/jY9KWYpzvF+LvwLC3rW/upiNjcryMMLMYD/C28L8kjK+00QCb1cIqxkAEO0+0lQ8taQZM7/fzwHhZL4V0xaazQv0xIxW4ZEZO/O32HuubVpznSEdrF6E+f5Vf0qWjiaSRFA7eShO50swY2O/dSD5tcxw+LUaz7G97k0ediCVBK5jAJcqdY2HwS9uiEby7QDZNxK/jJ1IMeEGvTFgl+AE4qvLsxNEg9VG3jbYJWwf4KMNrFk2n/LrFz8x0scAUov099AXTuh7wXm7BMhbtCJlYWtSClgE3VAIJllFUpPvHvTl9W3IiDqWPM41Rw+c002xKY93zRHZ7wbxgyGs79yCA2HzifNVWR6N5IOU4HOA6MitbpoxPWxw6DE1oBeLrDUGipxF0XkItq5BR0/QGlUb8+wmuMfziZ7Ud8dbT686uaull6L5nHLuXEsfHzxseKqEGKaQrZRTspmnhxpOtqT6KQ9TsZcA8uKancoPIs7guKoixWLIEuIxec5s/ZuVpsh42TwPVBAtB7VpuGfNWlMfM/lnQ1BZ8v9lGoLMKnAKfbs7gRhs0Y4KYcHYwbqjAZ/Hjb4CSFrHRR/q7iKdwZ72Gy2Tx24PQ1+xvuYj4jrNDsos2SSLyhiaYe26WEQhRO/RYcr+lMeUHqaho0J7VKkXitS/+TQTZGZGa7CkIcY8L2cjx63TEIiU6M5+euz68OWzmiwnZRXzGfP9F6fC0njXjRh8dlFerTh4lQIRfvGfbWDzlJu+PxRiNUi0IfGVpaSHnNwanaLLj3Tanu1P4suoyUGooeH7E5/8fr8dPz4gRvPOojv1jUnDdZBQGoMu3uJqqccZDfstGoASrnoLJOuMcEcn3LavDRQuwxcl/d5ZfFfDc52X1yW4A7ZG0lhdT0d7fVjSJ1xUXKBx/FK1Ef7w7m7YYnxtzfHEqc2/gUuCZPwi36kJu/NNOpjCxt6kr51iScDUeq0+wWUM4wuBDQe6AYjg9Qc30WNBU4gPGQocdnDmm1hioqLW+59LSX51xxbTOBvjc7N0PUX1QBBM1osz0RpoqDi8rY/MedlapYqhfu4zr23/XiViIhwESOUl5RYN0X/JmcQGPRvfYvwvn4mu/RMpdsFCzEKW+Ee17Crt4IzytwbsScMyMO2JMgjry1OhxdyIkKgPKaJ5YC4LH+NdzrJpOAcf/0w7mJHv2MjMNu260AxHPDswjLp4gH/fhrTM18tmr7BxqyHBnG3Kbu+t1dJ1RRZzR7Ey88kFtRKaJ3hsV+kmLzrm5dLxTYnAabVIMzOws7REEJVaOffD4/LGisFMkzR9DW/+8mNBTcUuGL6uBl/IHpcnbSNrozNNp8ihL0O6oQdX4FDpW9JJY+soW6CMx+y2TkPFaEQh7NJa/EeJ9D45a8wS35po7+Gq99aUp6SG8EkGWDQIHDzDoq75iuNTNG3RCCz6LQrDDAWSDPEyMAcsMWATflWyIiiddDb7+Yr1340fBPblrhsDqtqau1ieA7rn2blPu03ltvPknMzqldA8oZpZ6a0nxQ6Z625Z0vh2mir/JvjoPQsa7RSqAIPZNsdr6b02AAjQTQkPtiYhf5/gK8l2tB0cRWCAYcKsJ3ZGFMLM3Ky3zu45FfGg4G2WF8nHcQ21xOq8XilcfxXOyNazBYWGkmiKR0WqniPKQ87kuNnFnVIZhbWHTqJ4PQgqImRRoS3MX00/1XOZkf5tDj2R+aUTuBH2qQTLXxvymtdH99/ZyprgIDY2AyPxVVuVnjiJLnPuHkTX0LzfQciJSXUt5J2g2HhYOa/0uxNDdKcgFW5k/v3ti8QCxNuiaABPz4vWuy1o8CmGainm/Dw6Wj/zYRW4vRms7cXmxlPXprDfm4hwENavny3taPdecbmu5CjwwHu4ke5MD5SBEkKjCucZnynNS9Ir1lr/FxofKmBXWrPdFHStgg8L+SE9xjOjH567tcjQ2fgKH9dun5GAs7aIgvYmorkQppJPHc+25Pr1+9yvX8WIm/slywZEzgt7kC6TZn98T1tX5WubGNRH/AZAgDuZerAZVgdQMPPEUxNK+l1QXwunoP3XXu0ter+tE9UTvDwNOtpw8O+teS3yTyLuINsMrltjFV4tH8HIT2GtSVDzq+SL/0jf685pnkSZAc7zg7p6MUZA2SRU98ySUCcSNECz+qkYJ19Gh3ABGETnkeA2liLc+4TVavJP85Ugvtf+bO8iIudRk3MgKxIstqLR4BFoqGN2b2FT5RPlZd7FhnIZOinSLmPHeMuGOCscN13ykuNdP7BmTN0IxWJhT+wGQS32oMYVRXQVNzxkGnnfOvAEiyB6dav5imJvr12k7Y6hF0IAGFs0Fq2o/2BaI9sbXbQHuJGvMfOuxMtIo1E4Hy6kLH0SPfFB6oReqKUEOjlJHGD689w2Rd5FqRwD2xKBX3uAr/fmRilRUzuhbBiCuinV0iQQ/8BY+sKPwx3KSxweWFX8pCn7Rl+v4KeLORF+4hU3KrNqqn5jqkLM2SusjxJO6fc6Sp9+xxYif6XbdCk0lj+R2lzco/Y4I/s9MCcCtMik2kvrDkito+/nHKy0aMd0ugzLjPOi7hRgCy7aL7tCa9J4+gIxhMThR/s+dDqI14O4twmSLN++/CJY6NIbZdOxg7UIQ2ruBwYMAGXYR1xM0CtsVlm8n6tSFElO383vjnP1WR+EnhGv3RNwY893WoPKwk5FpyYkuip19gb7oB2A357QP8Nn9hA0649RmV+X38nNaJ0+iAl6N2xS0gjmnUTmuiEBet+QP2mmhBc+8SAV3qz6FK/1qxCb9Be3dvBurUg7QMfOuu3ckwTKQMk08NSQfJ/V9t//OMEPaMehJRl3Gqvhf6EFZPmGlZ53zAU92dZXdXC6FCubLagmHPHUrHhfsgcNBr4JvfBQ8z3iEJGjcrAVIOJPJ29WzuPWz/1cy8e5ijyfEwlZ3eDNA5xWr0kWqzVdEzAgvaOigzbWvVkaqYmSuoVcgNxOU4TAotx6yFMYcP5Z7fDnVa5x7XPiKnFt5/aBR9LVBIDiQjIambEFyWbfl2qyaZlXNxwPb2I45dIV1LyPKy9mNOc6E6Jc3+rWpnq/WQNiMm4lx4QOLAbPlHThijcZ/FlkyxWgFH1iSYWZ8Ed5Qk1OO4+DRv0zOmMz2Yk4CuORGpEGeJ3ZNGfqpKvD9Dp5GKWLXNgbILZYQXjtNt+FPIU/GUZucJHhgzVu5lTQZZJUyrR+9N68Aye0JWnTeUtbCESuPqbKjDy1jDjYscDoJMt1XyBM0sDq1Kh2plj97esC/c40ql8uBDx5CJd16qN4mzY4Mqz1YctHRLwVXgrm/WVnyrE1JYZ646KoLFNRUx3PEivodV/+1zWBNfWwwAaoU+ixG52AGJHpg8hdssfhMzT5hcRz21pYsttMkktBiLIfCAA377buxN2WxriZLxuCUgNKYoU9ZnsE9+ehVzsm+G6A37fwNWF25KpoDSNWqgRxt+l2KbOlNjnAg8DBsUKCoI2FOXgU031aGYDmWw7KgYq2fWNs+ZOZ/v46ol2HW8YZtHezmh8ai26xSsA4TGEtPli6FBr57HU5y0qXKPe3swxbFSBMeFHrt3EVi3orJD+wxOkTE3FF5NojQbrZ697duIEUzQKn7R8U3RrUTKSo2ZpJdtUwaPXDsZGtSlQZ5rfBuX4zKFVGTt5loGfDU0mXtTGdxmCtz6tOTW8sKwfjmK+jbWqY6EeXPhOMOvtK7rGZ9ZWNWsf03Qoih7ROaTBkinRtDe7joRjVWrHuf6/IGbXjFRldG89rxt4KC6xHCd+XAJ4cPsENIBpdVOuZZWzXK2fFDrpxRcBT0jPOWch7jSfZ4h8ABm4ptIxllhk+DoE+c+9JkJznqAs61RutXK+wagIxhnDkCpx/1vOeRJmtu0K6cDHNaZZS8q6Fx7iEje2t/geGs7/OJD+OyoJ2hdqPFjXw7CBjQrugdKyhaBTUQaXcZsncCj4/po161+oH33kWhKlLnIiajGAEpmQFQUU5gnbs0UusCkKI9S2HZGgP3WtoOdlqo4mjvaabCgCgYk6dyNhB0c8oTxdrkKFOPO+l3mIzNHuZ7s/JjCjxmoC69Lb/ZQmpXiXW8mid1qIlZdG1rDjJgRqNnwok7WKiMIzsk92J9PhCEmFlEotdCMST7uiOiQHvIqk41wjuv2bT0sYGvNYPhWVipLSW4YrIaevfDIjDmSCf6JEf94leDw+nsqf3VU/FTfu3WRfrrcTbX86RIQo4/Gl1d84xNKudi4dPh+McXOXXyGoPCotcpGXV8iCZdvj2MtdfCSvsacj6tHzQ0hVUisiCLOPrzfEpQ7pe7trtaRkG2+rAe0jtg/gA9zqSXui4K2z5z8761MQ81Ph2nDAM+WUiIeaGtZ+XkRPHGatxSWiWDbWSy0FWvMhTF2uVQ86z5bW9NFBkXdhFMWi5J34TBB6wiId5XzpU6ZBJKkszMFk1HM3Uhn0yl78Cv2seTnKtwrsrj21W1b4q0KxIsswSRGgXPbCCnwBShh7JE5IUT4gLWgnZcDGNwYgwDIxuyZ1hbiilC0cZL0HS/bAJgZGNHp6n9bTtqR73Ayi3aSQsln2sE9woWhFUzCHD9GkFIlXDlaCO3wPAE10DNmfcJa7HRhNkk3kpuVrqItkYn9WbIZ4g6qKTbHmAlSA8dHlSREJG0htLtLmQGhxXvQHIDFGzQgTzYWrfPpwWpuj+h0aIKtY9plSsmN6fYUvEsw5AicOR3mKCNnDQ7CVkrH4liVa0LAMEnCUwIMexsOvWNJDxxmeTCDeuEZwhbFFATCf4JcE6/aAhKtnkqP1ZOjEJSoywPF3j88KZbViVO/SJ1Nvd+B1whaxYsZxFKEn6LixhH8ddWZ2fo+xIwVNZDV8GhA9vjAVDCeePsK+A+vDIAPXxMPTbCnAQPvWENx+40fcm27mDUCi4q+TBOyfBFfG5FmK4HpjgZEbMnLD5SNF+s1oZ2sCv/AMVmGqR2gv9HxfTAQ5uwzkLSCBwrFTM2vKysP9p3hcWCDsnJ50dGbyTYlnRub+fuAR0l7BwUjgY43Bnc3eo2ljKMgg31e0anMuiKzqtnwk+1WFhZj1YEE4tByDvuV7MTvVye4QCFf6PrnxTpANYsHx8kt9YVLghL6Y5pKbUb9NGDOCD9jYk93Ohez/KVe21wktGqL71bBwGyb8VCo32J0FDnCeTADX0B7I+q8BBV0Vzf8oAilRxNJDWm41QQmI87rD8b4WQCUZGJdzfPwfUx77aMsSlNotfiFLDeqB2NhP2ZYmpZSsVjQkOmZSduhwVaPtynFEsGruRgLwNMnVlXAGLjsTRG9OEJixQXJ2imnZxY0usEyOye+Y728ShM6d7yFU1IcABMBFFaAEOJDsX1+Y+zGcMFGYsWGtBc9zqUJBcE7ojyihv5q3/3uNhmr8HigWez3C3A3o9lYyBNb4cfjH+96P6GLBudPTv2Vw/XPGy/WcWettRXPbBdbr+4+FcSmcnHykz8cPquiTxqeynEqQVtjE55Pr/ltn9W1GmzcB1XlgN/c1pN1Uoswq17Z0a7UayYwbjGm7IwGBirenu62uPQQVYQo5RY6nLbBNMC6+ZF8+di3nJN0LYWv5JhfJXdVHJbC3uGjTH/ikrTdKCKfmeUiRdaAnSBMQszn5CDLqRwDeWhKxLKGFCOKPfILoW3DEVOfyGcWw5F7Sf+ZiwObOiEe9UPhGZNHPl0shouoeRByVmRk0wv97SDo3bqodBPVEJPKqRUHhX7jlgEqxJVzM5ySMhfjqiFN7dUAJbhEZV0cWKBRfv0VFNnrlao9AjuRR+FpBk2eoYrByOnme2g0kR+oeE0K+JFFaFHZNCY5g3ppiQ+O0beC7zMBXMKDjxFAJh7ks7uK2zMAwPSHroJy9Sdix8XApHN2QNfG2LSJlcqUKUpsja/a/Nna44I6VTcRJ6gmzDt8hSr3IjwT6y05yWcTYB8+rxW+HE9dai87Ouqa3c1ET/BjkQQSnMEM/YaLWjG/9ButxteyCTPJNuKKvDXljbTcud923h5bAZdnGd8ZA5hRR0l/BbocCYlejWZTU4I69bJElKtQvj166kOETGGUw39WyYQgCxuL2t67GCVIlmiVBuzB6dDwMj9gV5UPz6uMPCRN//QGLs57sEP+18scQC9uhVoe7Ce8cAqI9nzYJFdl/nX6wllVZM0c56wvtTJR/0SqJtPx0ubgmi6mdWrIMpFghM14B3IPBQ8U7ajkxcs10U6Eb6/Yc1uEP1bejpyAQ5XV6uXXm5y967Oxb2Dtg/ocz4KPWWzL6AEsESxynD1FC7i0SpSHqxrycCwBAP9VeBXxMZXWr+TapbJ6I1vckQQpz6hqFAn5+34lvlLepjj8Brb3P2SQ0J/RA0ER6mfN7DRGLjTFTqZFHqsU9xkPdWCs8MQT6vDQ4/NhWnL2+5gK1s67VdlGiva9uGrT6nDk5/FU7tMJ4qLCcKDVGF/8+0B4FPaLjlh4FSO5w/w6GNHIuTCJFfhcdR/Ql31SJ+H6VAkhksm4dPStb57G2yvGS3PUGuqpk6H5jSyNdEDkF3lD//I1sdHf366ftAHDBIJCawXLcrWllIUY4a74bqjJvXlM2SoigspFk5X/ic1BDHt42GovvFXe43YKLFTKm1bW0JM3vyqghb4RdlN2frhERAofUHyb8GlKzgzhlrAd/lf7tE4BjxeDabJhVwnrCFLkLg721FgZqJMJpDVKR4BWqpTkUzR6wQCFb5DS4KNMSRABYuXHQKUMHdS3381OfcexCPUBS6ir2dzlvaNFIpaWA57nvGFKsC20L4in+Ik9NTjGNcLhV0udOd6oxXNUuHSQZw9cm48+SNkR3XmIcUxn0K1rlLg9VrWtu7f9XBtb58aROKq+Jzm751itNvIgnCaFtRbImU6RdfrVKJ2EStHIej/q2NLT3yfEc5cuaKL6oU2cRh9sE1UpgCqXmxvvKmTAIITfU9GI0k2f7Ichd89F4anU4e1R027K2Hs1w8eqzIS1BOnQrMRIUTHmHHrPqQk3l/R742/YTDtZfQP6E76zVXRjLFo8X3tf8lLLxnzgEOFWe0nSREMUuEHs4lJeVkODGLtjybIO6xbimZFnc6vwdgo/8DZYY7AgChqLCTIQvFh7W4P0xvphwZHgTWJuI5e0yPwz38eh1mI42yaxUTL/OKoRgtM6i/CHHb7NBGYodljm7VCz7osRptmWrgqsNyZk00h4Cr+CdxoTEH2OvZCBwnGV9NpwjxbA4Azcz9pvgU9g9xdbWfj3K98fRAlW2ez2eInu+LmbpcBCjM/IA7DDDw0Dz5Ygj5eXp+WRahQNjx0qU957fgZ9MaEPIFeGVkeEXsDmQhPnE8S7cIplIgN02CkCoD1wY2xDdMVSS9Dga3HZ472fOdNJhiInyo+iY01jKZtRV0utmNIepNk36uoymZl2W+obwuOVp1SesMbTFQ2UVtaoCdQEziqtUKYWBcxFN0K4XbnFeyrkCSdpPIthzT3cyClDaWnX/DaxM0cWs00LsEwu/0Djl7D2waV62Ir2Tgw5XS6yv7brlEl8DgEs72WPwZDGM0o5bwqL97Zae4Vh/LMB5B7N/KC2GAoZwfHHvrjehFP9y5dGiyP8EjBlWpmmw4eq1tJPVPrOoG/Tk+yQVXjkem0zRmEN7kkU6JtBpyrvCe0GhmJRsf3uY2G97R3LdYY6/wVT1ls5QNzibAxqmCNd+RyQILUAnZU7L2O77z5Km5WPopYxtOGX9yIOpMi+DBRuAWjosQpYc8+v82AEefJ+7EQYCJM7QYaj7pRAMt5ZHAJk5YfnM5YLeKNPeuC9nyWeX9mstqSGJnQ2TVHyfTjYY/hkSEjJelLcHMc95tWz0GOEJ3a8i0WIR0pr/Rez43oSMv2Ie3TZckXePPWDcrrrSwHPKZcDz3U66bsxf4CqVgUZBqGVRGOOrl9H/lA6DXXlnXoiJy7nPVCpDkSPbT/eJ2Uubth+3ngODBw5hhMkq/VoIu+axZIXEpxqw+D6x5VFY+mAbrd2OA9/5wJzpgsbB8bo5hkhuJj8K6bnRj3xe0d8LbbIEFYPIodYowjW3HyHqN/uuAmrQGqF1wujFJ4ZqRYdRb5xtEfD0TM7BVwwA/X9PTeh7mcIXoFTU6eFJWhKQTBRRQczs59K5cUWo4btnjrkdEu8UhciSdTK7+BatRnKvUHZ1dhxf7pLgC+WKAvjxwjtE2TaI06VY6gZIFXS1bJpSII84xIrzExhvZf6ctieMyd7Sh5FcpKa/a4o4lIyitQRLWmPSMuSNC6Ng5zIaSl1vS0v/WsjwPHFwVjVCXwelhcd+SRmc3xPghqH65qObF1UthaZGTVMZEGRUcW06fsQPuQGNFAXAV9FoFUfrC01CE4JMC478WQ3wNlIWuDs3/EWuv7vud9mrvdGm+Tt2CZO1aB2FLV8ToCC+9f14hO33t0hb8YjTH1S0/4xBAMpPbuHjN3e9KzQhdEv1Wxklq6rUzrszWiQEz2A5ozebCGv1roBrwdzdDuVpUOqdbc6h3PYmnCJvd3Vb2VIXg87IftgrCTz4LcvRGeTnbAFYfSxhiy3eSDkM5w5WoTVuoeA9+xRmMlKYgCrUN7je192CnihKHzg94ZFTpxhdbPwUNDPIR6w4SwjrzldQGOu9ardyBtnNhkC6fo39pUTN4c3k4nl8Ta1x1LQ6zdaTGXG4/xjc5S1VcnhWZQGqcqWFC4VDYtyvyx5kytQlwm0DiVso/vUqRkuVCJKRXVm27E22HeYdzemP1iIzqBDLuEbJ9IGwDqPoU99wZf9HcemIeavnoGvM97Yu+qmuOZ8CwV2VXK8yQysMWZVY9GGJ2/VLxizOJjLY2E+jyd0CRrYfr1qiEItXmfHt9thRoG9MuNYcpgZ4cDKI0ZkH8drKDmekiO0DF4t7ncvU/a7OrQgZ2ehnKhSmnLDRzb+5lK3MEnDH/SXEZHV5Cx4jR4GVRKqAKzn4+hois5Uce2bMZbB/ImC2k+OxIf6+QdmVHWwCTL0axsdc0iaJwPMeUu/BlEIsW7Qh+au0YaTxKn+1bo5LjqKNq5u+7jC2wLnYm5JQfpC0cBuD1ZrMGk1aRM7Zq3Fg2bCF81JGqDv3guk/B6lp6j43zyweJejX9Fc90B9Rs9UWgZ+oiSIBild5ZrHYBrK1rK7PB+TqzeG5HKQcLm8zuRpkLXVzVX6zyzcpR6kvZ6IbAb8fRkdt1yO0HIOjdQV2Fg0UmbSnH0et7b5KCpm+3SWHAgroxDzU8dQwm4C6o3VT88aIg2wD6nvEg9+bPe8R77Z8Hmqp2hfrb8MtmAauJxXh3AULYnKJqXvLJcgAQ+lecGA25Z1c70eYkIV/uHm8aTx60QGlrkpco/52zw0hShactWYL/hWFpAG/quPgxWwrjQEkFyqM8OrBVAzKWIcQJLyfj217NQ9/zRzL0e2scOEoZ5E4UF4DGTYquLgzkj3y3WWWIyu7CfKtTJ3dZZAKxGcnlhWBgh2UV2FhJJ/e+k4ALz4mPelQ2pLHosN6RsUSPtdR62s5YAdSZ09M4UR4lc7BRBbHZe/J03w2FeY8KC0J1B04CiK9xDauzjW267Hj4ksRA1xwJEgmWSVlNWuG0qXP1eUr8pio6XrFR0vZsn74hKRp9juLBiH+wHtrD00Vfd7TlcuD3vF757d16DQhXSmuvVVZLKm2ZDrcCECjUU6KXnOWfVrEOGNc78tReUFit/odiwiz1g4xSrtYoaTGjru9nJQc4AecTWfyyQo47O85BB1Hc5nCrBP1v4AT5A7YCg8lEfTwV/YTTcZ26SwHNE4igBTbZdXutTKSCavQ/CKlk5Mn9iR4iRG6yWJiA3C8d8XyUB8Co++oTc0YTPgyRByimBmTLXVcvh7PVQ4hs4AesrJPR1IJlISGAqmpmton2yYK4J242va8k1zsGTWXN/gagBmNnb9d/SLBySGmluFVevlEH34Sq9eHuAszGx+WLJk3A/noc7vWK+68IayE9wBzFlPVfGx8pXlSskj9kxcbS8+fbO/JAk6K8ZpUB1ySjXd9Lap4XN6NRqdHolwzXZWwzKVtZhCwDUlQA0RGIPhbPdpaBdSndSp9+1VRgTVDngru7Tt994v6g4qAoKXtoNffaLHeOJR9TKQ038xSJzsOPOvPzFP6LO7EC+/c+q+DKqMMh+qdCcb1TWrxbJv5irfTxVYLCQHOWgbG55vYmueHNKfIGkrnFvJFXlC1JYcw7TEvIL12Z+zQMvGbWKYDw8aMra2BSxVylrhuvkNigYtnsR6iXv9jNoPdWHfrZwbRguxJTM0yzSNcMi3heZzNiJAp7ixG7KB42OQfB8RXyTGIV7Oo+TsGxns75FPR3qPeIbn3Qyvg+ILFWgOZauTl3I5L9iXbHV6mzYwWzaxr3+R6iFawJ01pJwcxqPAOYIg3tB71haCbOCimA16uqzEuqzfEMID9W8ZvUHv7LdSOEqtbL6eIgnTAhivcURgnNLgrZpM7zshJtddhJUOFqf2zjlZXvJI/6o5fkyDHW0hoIDPw6sM8RsvKDHqK/S/N1U9HJkkM6++LBhPMWYKZ7pXaqJsOjNCBj4q20svDI97BiTNAfHuRntZ7m8Hbbhm4bf717drgosttmesGHlWn1i5IJvr3VhsFqlaVuNd+0QDgFzgXnfZFN8iN97blBPut0nBKFmdHfQOlQgZCSctUfhEF5A7c7vlrMC+JpubH5TwKV4y/HCUo+Zst1RH96j8L3LADkrKaemm0/l8FD+hJZvs8vyjJkjL8DfkVPt3vx656PYsLpL5qYRa5BUwWnMHfRTr4JaDhm2cg3lV8KauBMsScW+OUtvEnyoLmSqwTeJsGSYXI576l3ofT3JTEALrC1zH4JYRWPcvzip0Gg9YOprScvPs0ldJHWvYGusF1N3riyWWT/hOXhLWJ/sCNUgg2i6MDeleJ2v/xZsoN48N09SqtQ2aiHBEimMqrcTm65keC4r1IXSTfwtdOfygXo8qxqFPyaeRrHo1P1GjHH1k6hl/0mKbhHlrbrBs8DN8JBOzpi4hYpaUKw/pbdrakLrFFGis923vHaaeftVIdiPJiIkIG+6I0iZR9MTSiv6m0FQsEnEdD9urtllqVjwsqJgYXOo/+ra+1NpOdu9S2xQ9M3bpg/vAUMHb2/LBcxqpEUMPVfXrtUoew0kcIWHsZVCH4QnVLznwG/8iVDjcfZT6thJ2RWni1gktdtBrxrcJ+u/a4Or0uRmQciqEPWAkHE1C994xJVOzvJwMJ9jcxd4SOeusy/32SzKXuGwwWbY5IEiJnRyru7BEDX9Gvh53NivXDNco61bAD+xDJstGjcQ27sa1TrOO4fyOy0E5Galuws/RN1jKoe/faQOCc+voFZhZyyy4i4RVKW8ZLvkTZQz5mvo54uUWPi+AQ+vqHsXy07vZ7hpNqNLbF+2Sv7dfCMlueDp+9OX9WQwK4ny4CJZqOtqy5DBJ+rTk3ss3El+CNrsybHTAlgWbEhupQeVE4JHzLy/XHnqK2vnN0M5wsU597h5xGFeCLGnkI/5/LzVHXceuA2+SXdAIqz5N3u9BcWTQ24djmCyCrEIcvu61m+hODw2CzVn9z/iP6YYLSZ9N3BTG46Z/bWfKxBBf/36KD/KAVvBrgXS/WeIEi176fERioADYqU6v8Eg7Kx1qc8NGNVaDYw8O2P7gON302COHl75mHLABkHpYa6uq5sm5r9U46HvV0jCqOaRJzjyizLoMjKlIPQepFcVpTjRc/wTADG7rYOt3Us20xI1EMYztePTdbO9jedYQ3RNELEMfpx5qs9EbbGq2XSD79IKWDIqzkNkzLAM0mgUpABiARJsltcL0oMUNyqGw2u0soXiDkCwmRo04Z+OiNC+7cO2+WEGwDqaAFyGawwpMi5tiaIoK+F+CsvtVEgT8BtkjFkeOy+zZpPMlzCtz7/ydNjzc8aBlDW04qe3AzfUAtUPlsqZeZSecjB8YA1n8FnI/EyFyCTVJelaD0uR2z4hoW2C2QYNtHGR8XVRDCnZIOGbziUvjfXaW8gXLNNK+lr6gr1TulwWo6R/DutTBtJrZeVO0TlEuSwnbqvDUQnEbl08tepJ5Uo6KWiCC+NzjECYoURo+vuWB/Uu354ondV4pBg83bwfteXQtszgx29gWxtiobP22CPhZG3OU+kVAFCax5DSBKGY2oc/zywvGockhumlrnO00RtkXX4bkwMndLYfkfeRAocyiXooHkaluzaqW/5eprp1FgRx0u0mRVKvHmrM9WL2ATAcYYwWRyAu1fdJ9G9DjlLGKuZ8Z0eljARKq53tuRRCmZ6D9uW1dPGr44jbBppRzXHWym3jx0HX99ZQLFoWHmSRDqw7YGnknEwG+E1Mec/ICSOTGJOoIJDSWknIWEuMIkTx+XeN2gwzModF3rY/HOlv8OuoEw3By2NTAZT9dFaFSC56YBqJrUwGTzwoCxR/1M29LTwBJswrPQUeSv8othJg+OZo4pnhWGggPM6wgPTCUcsQUPtk5f7fEgRMNCaGmwzCLXuHiacVfarv1o8UgtJtwsDLE5P5SBJs57E4q0vQQFt5Uep8mqlvl2BH4mTDhvuZ4caDsreCwJd80GdyfpN3X1rngfledKd2oAQG/8ZuHrd6rTOt0xw/zp3IqmVnVLUGP1N2VC/w4aSvTm8V0Mr4YnkrPfemGVRmSNqmcO/SKtFiDpfHJ5deoIEHqKyVSFHScIz6akLYasBb6EZZBNT6MmInW2zB62fPtsj2j0ZnZ76ZnPPRx+m6859gO4OEoGQmWn12VDF0RvmBrRvatxiQm5mbQs70jVR2ho8Wp77n8y76PrbFxkYcw9an0hDjEoujSnW31lpicsSUUy2Gx0JqxaJZHjOQVBaBblzHK79jLE9z7U0taelgJTPNnO0oivTA9GQZQUefGLwDTgisK5i2zBAwyhcnDyAhZ3yugTakn4UTC87sT5q3faqOHvYeyYE0HadpjI/pEnXZUAR5BrilEHVrf5kjTKtD+9DVVmdPH/MlYsjW/sh/Zanlvr7/oSJZys5vjq1RscS3DK/TKlP3iusbklszGSE5Tiak1uWrhlJbAOBxNAcTTXt/6hGgsePDITU6HwFwtDT83maSjf7bX+NevS9IzC4kHfzHG7+d3WLj77avAguASWGn7KcffdIjMdrWFfIGaFd61DkMp31uGD/qYsBnleXIxj/TsSl+TeP91qEWgxErhWZ5EB2y7WC1a1R8lVFkHrN14Tl6EbkkxaWyrYEj7n+RNTH5aLDRmjNlSD4i1hkPKmu7uRHNYlnts4rq8ldT3aJgQyDZy1UVgp0UekUArhfO/IczaFg9o1thUkyv5vWIoGJhtf/ZzbfaaVX1/F39c6l6Ww7F/aacFTrTa6Daw+8V2K5wwf5WAJZ4VpaKbO+osCZso+mym5YbhjO9hMwJPfWpOnvVtiZ3rSek24Kn7Bk1l4/LWcCwotyCx5S9/6trZmGVmuUD3Zja3MUFF1XrQupgce5beiuI7sKprR/jty1Q4gQIiL5/o9UjhwTbRYQqEC9m9ioAPM4idH6G33OfsjxKmQ3P5x1+dV3F7pk18qoWwjc2sgTCKOUcDr1voPK0qLqDYQOYzmNOdM6R0LXw8IgeK1wO2+Y0JBtpbWGDTdON5DBXcnpsFEoiY1UdxUK/0ATeCBV8k5beG/3TOOS80tkdAl2BAFqvFD5tv1fEGNZdYDAaxBBJbUuUSpORDkUhe2kdb5pD1e5Qp61Qq+qK7VhAhL2z6hSdSPFcT8GSndcs9ER2oPFiGkfgQqndBZ/sF4b6yUoY3drKInQX4HuG5iitoMC/pk/1VfGD+b056FeYmetJp4kdDh4skm1G5J04yw/Q8M3jZBeVvSXv4JORc6WWCYcTpK8IU7uv3qxWDy5GEz/q9eVSPHx5m6gv8JAKND9LI0Abn5vAXM3IMObEPHSKsg7nd30q/rQmtSnhHmsW2l/Ne6nZH+wOKlLTfu+pSiMidQ87hW7NSlMd3YIJzf3Wb/P1J2pTLY7N3dcVsL+1VpTbXVWDVk+6vsqpdyDtPTcEkgJ5t5esEf+ArTKEgxEEzhbtQD18L8TDakH2ICK7z/AxSmX3dfBaFcdx7T7dAX7sUbyYmVteCMHfy4oI7auLbMDcR50rBnuJa+fjqHPmAbk5AD+QA6npsU0g3QwrDe5yC9OZi8tgSsAahpUXybOTzJa0G1rBX5xDoY2WrH2AufHSrsvWDIsLwCSKGMQszmhMvkNSCQaEts8M6XiPRxpvvnBhb0Syx6ylMSr535uXyo5hDqunW7SC0sd8MKHZKmkN+y0V5RQGngBEFcwBGuWsE5pDZaMPyzF6aqbsxX56qamxyfZLsoMNCnlE+43Z4WxhrZlCx66jEI0nSiDnGCBtdgd9cyzMMh6W1v4/JviiR9A5IVSNevp9a/mdowXeryDZaDGGi5Hn4+IbzWMUs8IANIOn7Tm4fxdr2APj6jZ8U8rfDrnzUGevNv43HrcP5/gYNbA2+UT/WD5DycxoDaY9z+GvgkOuYubPiZb6U1MbrSqX8kFmijx4FDpKnb204UlQ6qn2vsY4sJqoLjHxftoJINLlSJ3FHB2dpgN1oCOphh/1ZDFou0Bpz0LhcW3K1+74ZSFhC3i3npgudnrRzZAf2VHUTERgoh+eptwSnMtoZywilm9kAgHTS53nxHAZEovOPCbHfRhfC/05pFcaLpdJSz1brRAYQb9ZNfw33pTJ1JsRuBKh790iWgkyDKb4DqdUPnM61cm/dh4Ll6ABXj0xA1iCQ/NrosDYthQzrn4bvjCSKWb+uQJ1S+d866B3MO9rkSm7x2cKiUoNxlE4gkwwbm/u2jnnDBWoJhCSu6DvB6jRPtU9NwzMO5bSJgApVlFD7PyBWJfSNOml95Fb22d+9uxCjv3oWdpEusK+XkcYegT6cs+q6Da1xDd8aE/Wq1WDCn4Xy0E82bRDcnRmwXQxMIqMekbJdJdhvjjmoPttaYb4CDCpLBxA6i/LF2kwwYqmlzuerA5gHdfaUiPIDCFmEdC/syxZPYoycoesbUL1vyKtB4vZExdMxniRQvMxb/YF7k67ISapulVLa5f65jXrHkysLJw76VGfqe9KHbEUgGLVzrECHCBFLquhfuD45+kw3WgEu4Je3eNK8BfIhq08ZCXQ8yUpvn47nd2tKOECglOduAbRmy4nbtnBwHO4VmYM8DrFjecIGJPN4+FXtRqicwzv9Sw7XV5aA7LigXYh1kOai1RS3SLD0NVfFQks0rwo/QACKl/4T9CaLtqSTnc7WmQZAsZasq2vTrYDbk89vGluAud3RSjrMdabKkZ/4ZEsnLSF+dXzsisKmastyKJzGCVrtd1KHSfKRwBwC75i3kGG8sZvRNkivEAYWz6ISLjUxSLWlKxzvcPl2U3dzweedWeA+gAR4+eJpgX1UrnloRq33rCeu53unDOpgptu1NESD9cUs83zHO5PmYnLCNyruidwkXkQpU86yA8+TAawmNoXLjoLiK8Om/8yVnvVw4Gcen2IqoxMIfJ4Z5oG/xFtsRS58Xz4owElDJLe3wAjQ22lRbUTCKVhX+T0Yta9IGTbWy9Ic/FHPzVAWNJLbd7YeIcEREHNbLaYSGQ94jkpRdL9X4ufrC5fkpv5ZZMXAd/3m6N4hceqT1Zj8awCtbiZjRuBbuhTo5SKc9PwIJf6nHUXFx1I5VZSxvqjjqdStZqmM2MWCFHBD0fImI/R67dqSom4p5WA3mWwjUVSMNVDJG92/LHT2t3yYV5ymW8IGkrJSWo8fhQy19mGTJ8U1/LQNzXxbjmtnswjWPwwnOecDvczWS9rp+p308WvtjVfCzNPAoA6HsBP/T7jezYsW5WUgDKne0NGe4+k73Le3Vv/nZoH07nQscM17U2S4USdYa+cG0ViKLaSVFiC9FcHTGalAm+KHz2/6HBHzZIDPQPwFs2yf8wRk80tET0pd4ZROULFnU+jyeX4t8irc4xRtfQeTtxE77fL+8X9nJ/8+1suQFuhLMWE/pBZ7gAa08ILqStBVXBFEnOjR4ZGCagxfWz5InjjEgJIWyRDp/pw1Y2y2rRO5yESUW/FvsUirc+9jI9YtwSceX+ev9Lt3DNiYx1V9dS9wQ7j29m1BKn6BlqAhsucxy4uu2Q3bs6YMToDpT5Qd7ehyhlBUfysWfx/sv9Hryk7ZZ/zc0BevOEu9+7uTrLgyyQ0c4D7HLDFjifAH6XNv8wKeOl1doYYtvRKPLGYBVIbWNO7RBbB9Ji/Q4/xwI84xpIDe0TAUufSK7WRwccD1oSB9byyLLOhbBH2ALy8BbBoKrYaXKti1KP+rkuKTPq30JEWpcnV5G3d0n0aRco0O5n0s7nuIJlv1RqRJmmRLHlwIR3p651vGUhIjeIL0+AZby1a6HbkM/EUEZbzANCVKljAXofnpJrR9felbfIX9TDMc147uKD4hbxQXL3uMl1OEjsNrHuAD+Q5QDRAB2dPNohsEAMQITR6zNmfWpo8nS28MqMqX5QCDS74sURhAFOglEhebHmm9fgdo4EG/yzbOAnyyCBz4CIt04uCEzrnp/F7m+DUjHk+f8QO3jWmn+9K9JdXQ5Lv3dl566M1SPa1/kRFXszQ+FaYorC3YpRiNDEAvO/5PfRW9OQlUAr34bysAMabvPYTb8CAFfCQR+lOnqxEezErhg85BAf+TxFbLJHibLvjqnrKbD4mAS45uXBHxvemRTd8DVN/fYnzNOo9ekIB6f06GMkNUE9pXaxjcuJZMdg+j3p5BSTZ4lJSSqQVySn+ou87mDJrnQAIEnCifVTvpha0tSQKY1rXJhojiyMYkC0MUFy2au5ToIydKj+/VBWZ57zTCOMSwhxmyb30XheJFumpGWxcdPVk5iKPrkLZfJJpdjBIzaS90x6pSLSzuzkn+OQ7MFCylQqHCxqzzxGbzFtewbBMhdCJe9iBhjP6eYV3JbhOwsNdFDFHNSx185LbhXJJKcMt+F91bm/INPWq2KJIKiEwbsFNsEkhV0QPNWe1Y8FLVDMIDXUR6OnFaY625IQt8L7G7zSUipyKbrJrl3oaZLLGZjcdHue8sRJhnOFpTTXyul3SrvzQVPVlBFmujElQjiAC87Mh+jEsMK3wPMdmWASTL68vGJrIXeXOZN53EDQCbMVXIke7wC7unO0WB72/gOXvkRY17Fa97UXrpok8gLUCDZsBJlPhxj23IP5YBObBlA3GuNEjeoUtW59MqiH2Ek5JFeOs33WgqLKu6Oj0KZu+eocTc6vs+QJPAABhAOQ/y4zselzhV6KYZzCCj5mvwjMxoC5NqFSVXDyvGtyxJ0efRhdDb0IanKPl3gPjP0Zk7vY3HWdFjo4bqI7DVtqffWS0vT3Y5sSdnh6ZWlLQgmmO2U5IvsdlFs/5DIyn8a3lqWZykelNwaDmU6Dr+BFF6zhV3dbHTjGsrATM1TYMrNN2O1iI5lkrnFhexDnJkCuDzyMA9AH/HktHpp+3UolBfcqmmDy9CaqYwUclkx2bBPS3MpkpL/1tTFEkKeNA1BhoQrwi8LKE+DkEn+Z9bt9+NJJgNaKU7i6Kqx1vlvz/wHa6qcqP/5zU21kaVpD2tl7XObOBJ4C4+rIwTWNNGlGC3tz1MFiQRFuZfjeDRKVD+9g5LLKOrJDtJyfs3HHQq7m818udcg7z/GQ8haAm0pBY9E4TllLx+wmUQk/tWnTETBMgBMLuERtCStLgRDaKFeLJ8ldCmpuzVOdzQvqMNqm/awBOsrYJrPNnQWEs6f70NicDmQj4tbPrMfP5mO5CWojq3gDMdfO4iioiMje3QEjUCZGqPHvIK9pyrkYQXKxVrRn3F5NQAE7OyEA1sMUcMja6Hq2eygpjvghAYi6LKpklUF28jRCmojcDt1HJjiX/CoFWPl+rRaI9oLqbFyQba9eJdoy7M67FW/hsWiEGV+GkZojxm8UzLU4UuewdntZRlRBSzjA/NwxoZraxtgKS0V6oHMQf/X+iukwZA/4tzOq9SQnM3NXTGUG74LZxKr1jNr2x+utXJJs1j56FhBiUUM0ltcW1X7Mm5MlXAfhpo1WHwiz5BhLgbOeFUmEOAuNVuGVXvjsaDqBWdpPRmzwMWkqJpO26yUZug+In7NEhk6NN6zgosIT0AWhFBT1w8+CFDmk/5miXS0zy687Z3oLmDqH3F9LZEOcGLlWXZzwshSOPnJ89Gmbpz60kOxpm0ZodGZcFMPJHmXY1wjllrdRunkHAqBeSklz2nAa+tw3Hu18Og0w4XCeuJ7P5/O/0ljbC1r32OMG/D5rvqobdv7lBQKFjgvl0Budda2CCZik4aj7PoLo8u6Hmdz5qC24JoZmmF04om57jeET5T9Ilrqxibwr/97divZzagX5LQIiyM8IK4Z1r59BedtZymsvWptBCtnwc2oaD4xfDjTmXQPZBWK9h86JO7VRelVbEmTKCjKWgK2CahEPAl84eYoaBUK2h5aPFH5R/Y6rtWePIPfH/6Fp85Q422RXRMTB9fHGfXAi3vcdlYoukKyAbf9w+AEA1dnaNtpGdwLD1KAkMuTsRVq4p5ME20rANJdnRpKz7DsgwqvEy07peU9JkbRUpm/gyURfbX4o1r8Pg0YcZ4+vfpvwy59EmDw6Nq149rabV4jsgLfaedAVAnavNMQ8r+OkGHw65afS7up44DGyOLQVcCCpjZN9R7uREwQEFPoLhhhvSLENQaHjIj4wL68DCVnIlcgLPPnpAhqxl8tbaXkCVJBGD+cpQ0sZpwtt0P3GpH5t0kDaM9wxcnRvUReu35f8j+mRoZKCxNA0ccezICs1QCVuu2CZh+kfV7UolpdrWULfsfvABGLF6ALizzIUxY5bpCMkcuNTpcs11xMi14pE0PmI5PjKYnfcSyeaMCgNGRNGBrYU56LyxrK58fw0A/PzeC7GhOSBBbuVU1YGkzLDbcbo66FLi7sMOfSFSSWRcb2zqD8DfBxmAzduePfIKWGMGWZKOX4LPAChkX0ih8ksuhquCbLuN9u9tW4LVQR2rXLkio5tWr9wM9CItukzKHZ7zsz22GSu+EAALWAOT73xz09Me7vlKYFfJGA1H2kXnGxe+5Mz541uLMxXvo0afWWrY/dvfZRCxpoGtQ/DPIqwRoI1tWyYeEnijCxEVdlH48ENfnZ6NHQyeTTwPiyS7rqD5I4SbjOOy4L0ptIuvPhxUpp9z6sqnUhZGQq8MqUzKVaKcgaWi1BGU6HcPMVVjnMB6wTloj1Nzi0SNpjmxbR/riwEeev3r3uKBnEjOL7z9BQ0NmtyF1AwosccJHJwMBVm1+qVP4YE4Z4b7ARUhePgqWKAXR87DcE5IQoK1pmekedQm+fhqDI+kqX1RFqo9UMnrvmDZAvArqqRCGtQ+1T5XJI+Mv1lOsZ6K8ow5qWG7r7nFeIQDLEqZY41mYmjAGYhFO3YeDCYtkipSwD2C8pHrpj9K/CgafxPq6T8npBmq3fhI/znCPwMjCzZqb0QpOru0Z32IhRExaDby+jXQaBDDOWiFpMchehnQKK9WvrJF/LVOdtk0NXwyYFNbXI5rGkL0UwEfwzZKaSx2ySORBZpmUuc5+8qNVcKQqCKz7gXbcLqGX1oGleJWYEqfKZ77c1bOwgr6cR7v171H0GuqFjFNPAfXxbsWP2UVu3bes1yr4JrRK8hP0NOqf3nsuptWYOspV7c9hDHgBH1jA4WfMWz75E+DISxaKTCiEGvw62oR9YWi2rAoTHiOJV7MkdPb5SsZX4tiNE3yIDsecCniqLJwvLyZdB6Qubs8qlJXlR5xUEu1ngrmrHhbnKm/immdyYsMUtib1bVXkwFDApd4K4WQa5DQN37GroMHXYrO1tjy2Jvm1BSwscUNiEy+r7kNI7xC+Zp4iFP423qpmjLuRnLwzlzaWQ2tr1HpYr9pisS4fWi25FjZNfXdjPQ5DsnzZm4c1WcxpJFDj8K0gcXoyBxGHDauXn00SgIWKCCoDrh3Ta6ZQaBBEgXfWullwUGYlRBa6THNT0VSKcv0mSCrCMo6f1016Rz77FJY78zvCoE9IBmEPwSmW57OhWGJ1teH1wFA6oaLTPSymcYSwzd1OeSO4w3+lPmEbQ9jrmWKrMkkLcWKvlAbxJvL1x9W28GWRuntD8UNgryXz6ZLKrp6+nPu1iKgrXDxMDTk/Q9vsZ7WhETPILKAOKLC+EuMnGJoMhXbDgQ5XuDEh/3+uJPYO4tnstiMkkHLmSZrlRC9d1VGuhvZL3JezAnMNXIyMEU/pOEU8caRlOWN5pVVY/fqos+EluTj8L7bpKPmbv5lH02SL4ilTLrF/rOOayYiNon5mPqU9bC9xhzffvOb3UGT7cWqiI3OtdVkL/3+levChcWsZ2vWW3vNXz+WeS2QF5J7eJOCsEG38bbTu7y1pJu860VsUkDavH95t6VSVXngDkQcrB7RCngaLCOpu4niYLTi6nMN4B6d8uuDNLEKIF9Xz9xTltWDNv2y67ZHjHfimb6cBBli1Lgoc1bwZSIvxGMjY4CsvKoJoTlvrDvCODJQfPCNn8nwlfEBU8KPKaIbrdEHaMlCtvvn0jJRhDsdBC97oXJTPacmxGjJIG6/+BSHQ5BwRfEeJg1cEcFf2+9I9YJOwon74aVguNwrvpaM6SnJXMmfQEtEWxX02pvB5/0vMsrjYwdENLsdpOKFT3HjrW6VV8C7tFeW8Hlzmx0S4N4Gv/RP6tzFbriirACG8qt3SHzBzkq4CrD9pHbRrt7M/VzpSYHv6y+k8MpV/PBnjrCJsMLJ75PhzXCz8wH5p5Igu/exJvh/vt8J+x73hhLyf07Bwk84QDXj+zpFGEq5NOI59vF4nT/XN/dknnvNZDn2uKxVPFWi6otbiMcfWXl0IQFmCfGi52UiSUm1kR3PkMoqzQBco8lfqFKXDr0cL0s50CxMh6VMV3BRBdrHNtT3TqrPJdsjUZqrtoaA6HwkLEHbII1fBcOECU8Ft0swUaLG2yP6uoXbZupOyaphKPoVB/ddah5KgyVLta68lbM6SZ5kqnUffCegGn8ozt1qoYXFcif1QDvoq0E9wgCZRI0bzQFB5dSTEbPOUbdPHbj/Nrc94QB0y3kvHeJ8nMMiRfGVG0j1UsaQRPjWcVdxcus6CgSQrgmzpMUP2az9eGTS9FFJMDym6gdW35LPk5099oxeA2O+/GR6dEbhd+EdcdfbV0d+XG3heTQlsA+AEXYTr4K+eUDhYXSeyE7ipZxd2ztJcyTLIFHPn6QvqJdJQhql6Tg1oZ23ZUfMMm3n1fVbnQUL/U4sSX4dTB/+k+XzGRkCLygvTsE4VHEi0czkeOEqnjcDGUzxZikVSsJx0M9p/88GLcIuTD5MpjA7htCl717oDRDnMtdQNenuxlNgnQb7U+6zCQ40+WAxpLmA9+f3vFTawQ5XtEKiUUNQzo73N3RRd9HTVO9ebHYGs4/D/g+xn/fVg99NS6tshZQP0yqQcaZP7JDf/9oeU2TOCfvB0JHaxcO6xBKWrCUfeETkgedLQ0My6sxKhHHNBXVa30JEsxbqEfnmCwmFzt7P0zlf0wgaHvjefwZmz4gszwria4V9s1Lv0MTuM3mlaD6NY3rKWQ4wCho5VbsKjARuHFZ6KKmQYKYFVBfkE9rDWPEr+kl4Yq6xSMCswTL1xIe+h7BiSAKynUx346KKdwwXdMmIbfy8lDgA1ryUGQ8zoEoTeCaKpif2vFHZdQzI0r5zC0zJN1c3WQMqYE/8WWdpNUL26SUh6NEcFMkFOCdTTbhA9VsDcV5iuIKkzuzDckHvBFOmrnxREqvErHVOWi4W3kqCy5o02Q49CXxM6S4+B+n0mYN5AbCDj3B/eVi20OSnNdevL3GKabp09HQpYDaSR0pH3ft3Wu9p04VctzhCA7yjOW47da3WNt2IHEr7YPGImDStnEbOaenwUfOjmA7PmABv4TqMultqoGX5TlsTWYh809eSW7XCbRs5mfOCi+KdybWNxMuCFWS7uieChBEipHVCHzEw1fOHy8cdce0kxdXNTbatFXhEIO7iCZTrfynlrBcdPL7GTgw1bWN3LE2F5sPbwckh9D0oaJkdi0ORR+050fYWwF81+RJusZLTfhlxhERx+1J9R2HA0Jxvju0dYc6wiFqgPhJCJfT0nROwpkHi7C/BmkoiOKUSITMXQciVMIC7nATd0NLfqqxk7/f7o2O7Y4jE6R6huFWoXvTKeyrVHMJRryJHM39g8rbBDgUV2BMBWgxh8NaAbLD0HVy8i21Fd/K7NsD25WI31NGNZeHgvoXsWFLxueZKuGstH8sFTy3BA26K5Y3+CVlmy0uKZSemhTTcHYvr6QhQkFIn3UA8BAsz0+ebWDdMSVmxKiNHeDut1q7Xmq1tzd53fTFobzlRMBlz8DxCKTuaocWZKGQJHJ6fMFbqCAYGBQobDlol+GuYNgCD0LTF3V3N7D3d2eTWjaRdnZyfRXVV8nETGwkOIUV7KVx700m48EqrX93Q2KlLOIgFP41nkFfbHGStUXwOd94m2KzSH2iJdY/nSgv6cRO2mqhqgMp7N1ZVJKcNUE/F/2Zmz2Q14K9VoA/e7EM0g1cYxmtKdbEw3+LIvohuypkSehC3sGOJQaE5kkQD/8B56+fASkWMMdSF4btCBcj4yki9aG2vtU3P2XAgmNDbfUnZF6iOjQMlUvPJx/N8OmgDWov03Y+QI2tkmHxrudN1cloEqEeahGlZA3ttPyrjifqmTptxxx/BJQ4fsyPZT67uvmDOL/DoUDuTXVqq1vje8+idaW5jZpNVf6R2EpkJ1p3ewyL+c81YvROTrWXYAHiJIptDgbBB/98hfBJU9OHtMollfUchyDDrgnjhQJ8y+OGcj+HxpWH8Qa2MYoIjmqB1akYpMqudzrli7r8PPJ1XLnMAndiSNLqhQ0eOJfHUctCTyBUj5xnzdK55LPaxlaYUQKzybe+N+vAUhsv4P/EgUZRiViocnq2BtJc6LF5VFlbgAMJfqP+JqAAOnfY9jRQ3+0NKuunZJQ7y2U7vIdRi8eFvwIXnslZS0ZhQ9CnbW5YMXDJt5zIdc8LsVj/QnpxGrXv5EUc3+nmt9gK7Y/DwN2qZCXYy1vL+zM3zMBce2CfPkEwiWgKq1lvbntbHi6opr1II8DLTy1AS0VO5PEzIkCTG7KuBOwaEcIiEzD2V3fe4tpZWrgOVm0DLbwRHwEhoE+kWbZKAsvu+OzUTEmq9AIgfZmduiuBbuzHKcL4hOeTVYV/cKK+M+93FrIdEkzjR0AWvqx8mHBOR3Jk23gegfZAf3L2mExorV5JpazgLoR1mF1phlhfDpBRXqAYdF9QRXeHC8fTBi3JQGA2JUzJ1CSLnUKngtylJhG2Y9ITx0OPbGxg+NLulvey97CU2tOyMhway8mFlKGuIfsQrwnrCNWyoS52GLZXj8fsLs+L/t/B/fYd1AZ2/6j/QPh/Yj3vwSdMLimOsfDrAxHvVQwhyHBdCPyq0NjiOWvjgD5yM1yvaAEo2CEKz55tSEyemw1YH28l9CZP+GbGnIDJ7gIp9Vy2uNM/g0pnLTQaspAC5M3Gsu18ua7caKa77Ug3DMAhL3yG5c8V0fFImPX6I+5mNuo0s/NIT/n9koqWTM1khToPTMLYLAj1277YJGRRCq0MnI7LmpevJ2ZrlcXLoPJ2UCgrHMqRjCidSVTeCChOZjmBYXkvJ3AviYpraB0DtGAeoaxgc+bqn86qb3H2z5hE9XHi7FQnYYmpeq4Eql29Zb6ZF92d8KL71pOB+TRS2fw7WORsZViOTJQPgGgTUXrj9b4WaQ2suq6W4eBnc+77DrH0GHK/evQNCupnNl0ErhvGxoQrx+0gHYzUipk6/2RGxN+I/awraKfALzreHROADauJ64wpU4qiIu5yXvv5ipX/x1pe2Ml/O2op01Hhiruw/O+vv/0n5SZhp2fAvVmh9kI6HooSoDvVoW3c//LdOycd0Ua2ADG6GBySvzWjULYjL6MsHu+VceJmxA97BZtiwe+xfyiA21aSSGuCKJF+zvpD3C6G7AzIYrimaQJXOxgc40CJrTSKqh++m8qmiYwiLK5x9vjG6uy3co1hAQt6RKxlcApRx6ITMd+whm4JZ8VYxF/ZZOd3gS5NYisxOMuUeQljOkciDT2tLxLoWQFNGsjvBrroDWvY7N6Pij4os88pFblfJ1Mmvb6Jccdt1N/HZthCX0VMCJrYR6GQx+kHeDBu0xqycbRHrdcXBJM6ARIwPj+QRF7Bd/jrcmMo3DsXK55G4ENu+Hw1mQaWiIngjfVl1faLcJiddsacQk1tk8FViDNuaCWFTzPcYqfevum9PdXTDLooKoe3C5KOak400nfwMnMdVMpUU6jM/FvW4x23Gf5hPzMocVCIrB2acJUeWBmgIgkn45Kr6hF7t6+7ps+YcFhd5ERCqEwby+fpg+hrA/iOStmbgzI3Uh3501OWFxoAwJfD/F9ReEmJznSZu9ta7tvs7IOfQKcIK7FgLfCNsZlpFaoCFL1P4R2Fd07fdR6lU/qcDKdoyHndlBPyJNlEkHDiZNYXhysvoy7z16gA5qk80ceQ1wv8TCwDAxhynpAeDPZFFSyf2//nAyBxNjBwJ3hq8SpMb1xhrQd7Ij2dNhGHhUXULgWVdyOd0oljVguYKW8wKxLv1qV0kFlb4bv6Y+FO661y0z4d+2AWFiHyZZdNz4bX3KfLyI36PpTCzt3mSHRfboJzHBLOBpZNaUsmrrjorkz43ICoMNitFuYtd/ensAs9zq4kTWCxLUyDvgAY5A+lh5ae6eIESKuM6gthAeKFa8tLKi6oAx3ffPv/CpwThNSzsfFw/P3ZDUTOYxlcu+g90eMC8lx9BYMWa/v2LZBmbZBLOyITjxw8MIxU2McQ/ZRe/OUCtTQ/Su56hGViRmkUKI8bEZzKL+iB4J2HDaKzC7kCztePfYmOidU6eIGZW7NbouBY7ZmVXsLVLJOUKWVmWGU3yISxga43rwF3n20jrzYCpQ/Y9SYTcXUVUYhyKe4wpK6dvFxF7KG7UrZ439wvcdSXF3B2nqKPPOESRCY1k9Lbr9iHGQCGHNAm2SFEX504TFw2dZWoUCvcMdhfCeDtV7a6Uh36fAWx28qmXYpNY0vmHKLmk0/mTrRH3IMNiZTUGEHxALDQ2gFXseZkR47opAl5LhECNtp8MekoPf6PZ370wu2FlkWc0XhMootpCHuhfpBrPJcICY7wX1axhJ9pXUEYYVVeOritfTRd6yUl/975MW4IrLXhWkjUMwD7+1VzAaEAZYeFxzERxl+bmaHEBKrMTdNJecsLRlMcP2+987jMMsdK9Y2+IFGWJwSsz75HBX8xdIwwll1RMmyA59cVA7qTfrKy9jXhWwBoEBUg7RDjHqQ0+XYQy3dpgtbzqEB2QQiWzD4BhUEd1s3dDmS3AoEBtJzAsBYUngx3XRG7BlCduNg/5hqoX/jgO6UcXdHwhTwSHWqbdI9emA+1tIaUB7cVgWHIOCfYDbiPYjA/9ISYgJpYZ73y+lrIlQgRG0V3OCelCTMfhIUsa4ZPY7tp/Qb0E25MdJ9LyeoIGOZwsXA/kIWp3xY47XM22P1D9jt/39Prs2tZGKhP29Qdsr9Iri/MwPv6FL/EtLHIAN2dkObwE7pTeubVp5gBW6yt06Eav7OvPJKk7ugidyEpND9h8gUvXPeQyS+0vVD7hyb+T34kru99q3MQ6Vm2D99FhRIan34k25boKkR8hY89CsHC9vM7UGO4QumFWpneTd3T8o1PISGUvwTc/nL6aneTvmwnhxeMsu/oiT2E6kAym5h+Bx952wrz5RyNdyTFvrxXXLjhCitnkhTJyv0iEfAwZH/de8OLDNIZP6THukWf5Lnk6KOWpZxFU4Mt07gOL7X10vXJ5ar5uBEZ0pvE1OsZECXDme4Ou1vHRO54ks9OvJwo/jLL90U0NiyGEUYvkyhALbjLCIwHcNfPVd4Ij6Bb9IjU7TT+houJiM+fIJHEAXBaY8TEKqZLkKaam1JEzogucGZkiYN54w3DJGEO46ebXnMon13mB8Hm95/imDih/7QSif2/UXzseDyEyL9dakWjOpmleYaLCvFaxSQGmA+GfKvN+HOFYjfEiF2xDrTBPQHvpFPaPI+SgdEeszcI7VOPvDA20qUXoce0XZ3bZA0IMZfuI4rvv6LQHyi4ARq00k++2/U3jrvuZxD3I9ou5+w+GP+u2Rt6H31IFVZ/1Z3aZsIhh6g+2CAvf6v8jJV13yUfp+ANYawsNBPUYdLENEa3M07Pj5L8eS8oR4Zi1AOKdmENhpayDqBuLreCfF63Uh681rAwtX7zVXLrALfpMM5nZvY8J56kDyduPwGBDnVmtuA8R/VrP11wPs0nxWe0Si84YXNnXKArfA2iyfutB7aiM8+j7BsZVnk7/jNHumUf/rX+DdfYpW1270Y9CnOgPLPwWwy4gjePS2oW4I0wVY9KmcxwVM4Ux3yRW1xDdUnvPwYHtyky+XERyjOzEzi0JzbUBtbLqTdTgdFtBHtSI8Ofr1BmEHaFi7ArDjkzv1YcmYBag/FA+S/1EkPu/K3ZQy4RVm17XIY+8EoBr5N074VTTnThyKju1RJgzuH1lv02lNO6gtjjjHkeSDoNFMqsjBc7Kw3yG2nWGRzqDamBknU2+w650V3HIYkq8d8JqqZ96/AUFLBX9vf3y4QC6P7TE1IGSW6kFw1EfMhOErkWzTCqez+nDeM9up+4wuc7zuPcquPBLJEcukyb0oLgNLYMPy1LNQ5HuLtp1+0XgBvtrXFPYBw5KyfmlbDvY2j0rdEI66UVqo0ZcwhB9CMd5+43NJekOSUtG6xTC6TRWj+9h08FAItK90qQ8wMeSDrYFyzbhO86jFQKUSWk/nNwq5Qw7OGT7h496XbrTiiOBqcArs11UtMMB0JvDqpoJY0nV+Re0Zonyk8bWbphOpbWqphJ/yVSXNa8EqLBtM7Li0RGV1/0ieSRzgJg/WKFWB2sr0HLyyM5LwE0ssVUrSg10uvIio/vXQzuqdj0XsmZVeQB8lOV3sA0Sq9EHBOWzzK4L5lf0mmYgiutBSHbDZI7erBZaslG54SFf96x9uJll9o3EJot44tSf1ypi7QfqIP3AB0CKLjEJaq84w3nKMvARocoRk+ga8/Z7CAmY5uVHClDs982+vMg89zeVqHWqwVY9TLLcENWHDfqH93VvlqrplVQUfr57KRQFq7nUWShv2VtXVKevFRyztdw7t/m7WU72PpX7owRGJy710coCD/IaDX+DMONJfrH47ahRpGp9JZMBHzGufARkUUoauyGesX6gQ3DXCbp3ndKSwGn3WZR+gCe/iDrdrxQV4jxuzO4GPHrqH4LXSd7IIqup6hDMOM916X3AKOVfYlDFosaIs/ljG2ezZ2P6VWsr3RukRZvB2ResnCOSyGoK40s7TssrfbQWVlKWmbvfTCigYMHpfTCkAP0Ol5MD2Jrx+5cKQscFTzdzLh3ha0DFnWggpdMEl2TtsNQ8X0cufcYcSRaYkpMCzkvcJBXxHOigZKNaufCN7kN6S6I04DKoi8Edk7gfyNjeLjkOSMetDiWNTeaBHNvouk72vDnrxYyeGcbv7aiy0BUdzBqhMGjY5KOU2Zb2UO4TbXf262EDvaJigtKNW3CYOkaoH41wCenxUAg9HapxPAl2NJ6fLtOJblsHxQ6Id68ae61o+CQbm/GcHF2gUCC0HFOUMHdRrSB18UnWrtE9mapr+gVe0wkSjn6jpVDlOX+HKZjUVTUIMtptz/+rlbv97vtG6f284ts4O1Kwo11VUHPMcINb9Q6grFXPsRI8tbTAE6AhZKx+4Bsldh9hWkwkTl8J1jS0rrvwkAc/70K9q+lgfjTHq6Vda0jY6I2KEoyRz0IJejnYWaTL+NXD6mQmlaRNe8mtrnocIPCH69+tNrfTkl9ShXODXTOqSolFi94TF9qyrK1+0w+dWlzSpUFM5RQ2hR0lz9BX3wbl2U24KdL8brcl5qlpq8oKFbjkpbNXzOpX9Zlpywlh8rSgcfjnO+ro4KU0R0ecgHv4wzQqhHLOw6mR95TA9p069lLfPOHDUHmZ5XvyZiinvNCD6NcvNSSoM/FNsSfWbtHRkddg+xbtcEJOqG601WdFr17LaMLB2ZA3NDbtbGGObCFu2pqmYiBgeB39qSCEHN4qLoQ0ye0A0COF4c+erHZZZ+C8IsTLuyZCSZxNRC5PK+CZ4d6DjY0/fkEZ0f9W6YTSplvQ4yebuafKUMhiZG1PSkrM2SvV6RdHtqSMFW8ZotAeaSE+oLW0QJiK9j4H12yNLzhkZA5Ue0fu78CsX7onpc1mOkovNURoGe7wbP1ueXLCvhEcOeT17iR3H75N3edetT26YF1n7Wkilv9LUD9iZT7FSYG1Shu+Jw5ySMM0pSroJ/hZStuC5a2T4PDLKUJWbchesBSQzL76nEAe1ZtDUihK4/+yU8pT5WXWwhHM9nnvS+z30n/chWgnUbtpHXNW/c3hpWCEtTGDZjnucboHRjMYcV0ObMChGKIZ+A6jy+DfMpcZBJWgLvluSryvI5duqTHgwoWQUToKvITk+BebHBiRlapqP6Lop5i6yhwe9HW07iZqM9FptaJi0Wmdp1e0DE23U7PSNfqnDKbPHSn61CMvx6K1+ew6rGSj5d7vNSAB774R9zXlnVFIxjAlb8gRh4r0wWFVPo23MBiVLeQha9n+GF5kQR4Lh/CoI1YYb8RlHWoakTsAXYy/imOWFsag/3U2l6lCstBXKcvrKsmAAxd1cPZoHdBcvjL6Ct/hwn6ahm2DjVP4wv7+xNNuxB/vZ+EOVfnr1fzo5YfMvDViodq+TV9GqyO6YKHLEc1fvFv0i6baQgcczX8SesV54uHV//mzk9E8E9INGEBWzKTUOKi86pAP7M109NdR75mEJd52B5drNqO9Z6lCN3EPakzDhTXC8Qw6aIaT7qGjoneFELbkeiwdGStm3JUbHtd3F+Q8mmIoIa9kk/0ikmK/giwd/YlYtv9Ql18Pu6W6HCaH3Uj16YabrSbC/qgP8HepY5jr8jtAWAe0aJuL4hqmt5fEhQfFUXS716l64qPmR2we/w1RzvbPqW0ZIPCnt8wQeSx+7FQN4GfySMg/MnGvOVi6CWmPhwJPXoMF2uv+A3XQTbC+HMfZjmk+q0D7UMMs23z9kP5SzV2O6jfjnKgGWSh2qi4U5NfKqBr0cCsjiX8vuzRHyIrX3Bwu8YQxumF/U+t9LpzgU8aQMGhlsjzWUZfic1FSaiyro+2dunckJ1WCHJklYaJI2stcqr/n928BHZrtt1PwXHBvCu/pIISzS73k3EqOfLytnmGEfS4CkcdYKXc6AJLhsfi/GU6iqhIMXs0+IRCMAoxr2t2mWE7K1pElukEmK3GfvK7ygzffcp4oSI9sVYjkEgScVd6k+X45rUDY6gE+7kmTENL6ghL+jX2hg6pkKLzHDRZGB3/P9OMnLG+OCRljHs0W7bgxPgLmJTzZ00YkGOlrr/BTT8za9wye95ktW92U2u6xSJt6JgWEf2qfa6eQQgPnA/MGG2BAM82z/8dqCO1yEmLue10qXzIFRIwmwV6dFsxG+NH82H3RW5fP7YaMHTco0D3HT21cmRXs01qyjBGxqDtvICvPcn+9p6haPwGGis+QWC3kQF1h97W1KyF/2TMswPTMLqy10z9+KnD/BN5d0VV+qozoTF8s2H3KZZkVQ99ybxCq2oixCGomxdYjb2AUDwNyzBJYWf/v6u6EgjGUpstqxVlPV29mHcT2m2nr4RX2dw3JydXoUcETL+aL+DF8AO2iouyvXg2kCvecigufKTK0S9/9uPUsJ0KaryShvhzkm9uL0skdXrzt9dYIr2JjLAIKFg9IbgYTlMOsAvlJeu2NI+2wGj28FuKGp8SXy3jE7KXS4KG2AW/wyI5+PhWohn97c9DSP+JtSPFlLZuz4HQkChz7KUGVHRpCYEjWakSoCQCuyIRmbCVrYqpw/k/cf2PQDj7UhCu5ufUL59S8n1eM7vQrPWsLDDKvuk2fp5/cHYfb9XJYylJiqsHG9KpxlGyRNJzqHldFTpqUQkaZtLD1VF8SWgKPWUkmB1vxahhC0h/cLkj2SfiNOidu7m/4A92Q/cWLV9gOCJiknI9/QE4DKdQQxgEc2oTVK8vHLarR6sAFT/uo7MYoDnMJqMx2t6SFlTKUOrQzlYsv51uXPF0daP8CffPB1xsf0qLlvI48usq/l3gDV93JRRHxIWpg6XZvBKFY+YVrhAsKzqzQFIpUZagkeMARpHqWOR8dsHqowNUZLx3g3oibS/+Ga4bISC+yAF/7SAJjJ373KcvceLRTtUm9KKDm+VOExmKApRaT+9XxtJA5U0QoDex+KhH27LisobzoJKAw68VRhPo8O6LbLf4QDSYmjvbW99JaHpot6H+BaYOLVTneaVewyvDYhgLE8A9VX1hTGo20PmYQcEfZ8hMDNpjB6YTeXgL1Ut/C4pkKz1ZxwmSFaF8BoMC3crgLMI8pskzZVgUCvwTPqatoYFzy1z0pDWHv714DiUt6R9hVrNB8j+OL6WusAWQgiSNxXE2lmDD3Qt3/TH/QkDyWhBOx/zdMfiM4TJUOfwWpw8yu2fnB/Bvv3GwmmCfXe3FBVtVPtYAqeAva03BEEk+ovVcxWRq6IiFmaPlpouO5w/Se6MTL38mMMJpfguIjyQLE5TskmjfYtUfEEYHA54Q53Ju8OpVV0BOwt/gqQYyY7QvPIctOG5+GBrWRwGljiOucJLS7NUHkS9FAGQi8rIm9shC6zbTCYX4bk9x/ZQ2941kyeHkgfyw7WIwaWVOHWiXxVVLiM4F2K6ZSA0hzQKEqdiNk0J6CnYGyInW+de52tyaR4b5AZhNJxqasD64rY9d2DG/Juns5eMhlW5V2WRqTylWNWOMI0kYfiMRAsgMLINcMHitYuNtDX/zLFc4RM6GUiQ+u3/deUqXGZVmNmN4vCFuphL2SZubBxgTA1OVSEXPi4WbObtfKA2LOyK4PtdWIPsJnMeL7WWrUnTuw7j6h5iz6xK/2IA4kO3ptgQOBvaJAVQ/KUUZ0Kv6oLKCidc0Z1IEsF6dY5o3DOBG+1zITZbxHPEfTUSN18EKX0rJb4jm0z+xXcKmPoS+qUaA7rYboR35lxbugsEmGpqW7sk4i4U2fM1V795ScV3FlosjOCoYCQoK6ZwTxgdKVvURGiEBQwbpkwQ3cFi6TJiO3NsH9XaArJkzpDcvn9dEvM3hhdZKrP7ldglOBY+qRNql7CdEXjDAo/lmvaPAFVVYHvdZGJee9b6iA+b1xBJPI1zqPmirfPdfB8MJRe2QxhDahGuWi5D4AzcuNU6R/qR9Jv7Fru0nI+gycP/nMCY0Sjktna3CQFCI0J3va6kljNmyUCzosZDdSUklOZQIpwxqdyLwE2z6gdFQD2SLwGAHZbU/EboWmru28lLN9tsWENJARUfqWxv1vJ36xQcIGRAwlMMzeJLlWH+XYXDCg1jqBK2HR9lqBNawTZFARS1kTyE+t0U/snEuQSOsS4M/xvOsvOC420BWypboKm2jmypDzQNb9G8XDTavTN9EHK6/oha+z2wTFAU8ML/24z6D7kOSDcfIkaI3StEjTWg12/vHxfWza6lFYdpceIO1sbWxBq+QGiWQylWD/YPdBEJrJabzwqhzOoVLD1wgKibVqpznisSNX9L+gOn7qkm+uHuYR/ZResM3GnJXP7Z8JzyUH/zMdyfknb0G/fHU2aXdk0aNrV8Sj90pY1VQaszL3bn7ZmTalHLiHAw/kxFMZsoHA6EnQW5f0gDLuc9uTX7VNFP8R58uv4+rkGksRqLhOdVBifBcqrP0nn9Sd9xEZSfFSTi5HW6QDh332U1VYtxZMksEznZhYrOWLR38M83lA5+yzDK4AoIPBes3gQ6kkoNjDWCBjl3yFFhn/a/No7fx0xnFr4bJFYR6bBgnWKnYUaKa3ohFCOlRARtL9lfSuSpUuZ+NzJDv8Vv0IML/oumndtesWAgmMcP7FppG21hupZoZzwar1Wa5+8p7D8Ul+eGqZNocaciBVCvMBZ974YKdVc7PPD9l+7oijbkYIhtJLMwBIupPJz7MlxNYKQ7jIxYncNJEPSA3aA2UE4IBNlUdSQ9ZIKKjt1kTBUfgDn3LLdQ2C++NgQXSo3sh8LYbS49SFycSgi1tX5p/imz/5U10Ko+UdtZezXCac0ef//nbqmgzWco7j+rlKrRx7cGbA6jzqif5WUPxq3SsbGQuOosFHKuSa8rMlmqzyYdbyfg9glQZXPlu92zigwVRfMA+Sek1BFFcrx1+seeR/QyesdxKqt8S4693pvBAUcp9OVxO7jhTsicVPvR3IqXWcD7XhTE1e5YIHBs05ByIBlcPc6LJmg885dlE6rDaFlTqQ4w2Cj4KpJKTGw4mGsxgwrIyGICY7DcLt3iEKGbUFCTJdd5ePwAZHyrPq+XVZ633TkKgJ3nOAwtXQ5+R6bJukjdZKI2Nt9Y/He57f1ebsNnri6+VAtQUEZfe3obDf6LHS6LA+O/WhCNYaSmSuSlmR87oQVU5iM+ey09hfPvXZkOOqtXiPc+jh9oYv/YU+VWNO/2j3zPpA3ZpOq3T/ZLOeRcSrE9sopIxEI09eshqxAXgcfwKqyIh99bKn7xTkz+LB+4JXJXFnN1s+1NXmZd9lYHDraJDE1qmTLIqf6OW/ttAD8p46+PMh0k/toJH4HFsxn2hSU9R53CcxUb6O70aDkM847VZS/LCwZ4qOZmZopR7XcguA3jxxGuFqA4+I1rHAYRQA5x8Nz+0ifUCZ0sRCzBdMld/cgV7t0x5VG8iwusJsZbXrvxIvfdAHAUiyKPNZQqGYpgutJW8BniTyL1G/K5XfcaRY6erV5VbVm22MEpbTDG5l2Ckwsp+F0uW41bl8hxrs39Xje/3idhDtSSO4+4cLf21xhNHF5btF/gdgkmuf3EjYxoqlhRcRwKLhBV1f6soRi6ldB8VE3H0tfee1Zwz4lVJ7dtbfyXZzuDVijbgItk7NkD2F6GOUSOYEvF9BwdsRw24SyulyD0XqNdDEifx9bson0ELplFiCHpX8yCA+q29hpkJOV0wqzei7Mc89kCskRsaN8nnuu57wZnAb7mXPcSg6laAYw4V4uVkkogEm6shGYSiieMGLCsolDiZvoJIxlWw6nh7u6J1n0etkdR+8oxRaZ/1nfeQ96zKUdE8DV2JGItlP286XrZEp+uHxZEyDXTdwqNNR+0K/minKsNIdv4LJ22m37SjF8bB3Wvmhx2sSbUz8tPZmvrWwrn++1vd2aeRIkg7FhdcjimbYbYk+6bDhSuTMcYw7m13o6xMVPypO4KwGec9UZo9IH8I8OdPrSjDGypxp+dQOytIDCrbMNY58m96ggedXdLTWoflW2XUcM58OTloSN+i1BgdZ2UrsBSk5SM2z6r0UGvmZiusDzoRYUgwPV/3ng6ZJPvQAkhzDdV4yGFTRSd5XENjanMzy2frZ5pNudU52QSKkwyAfWPAb+vhM/UPUXBgjlC5njBTOgBdaDBViCHnDRhKaXZvBTcaKKKm6m4jOutPLTkxkBGoWGun1mTTncUmycU8rGSRE4NYhO8mLxzpJMXZ1COXot8Wyxcedxpv5Fmkfh7cOm+TuqplRwYMhvBRmvtDSe2FloKxOsmvN1Z9fDP5uBF2Bwm6Mlk34iId8vD1M0VQ0IILNRzAw/K0KpeXAsEZda2oWkd+pAp7cIh12LSctTqWNFdU8nuso2+xW6uaf4Sg3NTji0raVLPkSJSl9QRY3as/XpMBukaGU6MQq6PGjhgDdh/6zo7YCsqN0jSo/UxXyKIs+twJHNkixLHyud9krPRz+f7L8FGcYpM66Z+//pYtPi+Hq2aMbVWElbexJ/pV0daJpLVP4bPcqpN3JHONG0JACk95I9cr76cadwljw6V/G0/QfoC3HDV6Llv1rVdYPGnud2LXdqb22XzwMMtRrqd952zGE2rRSjLMFk3/eVIRxMWxkWhqSSIXe83ocaVYcA4IuQh0wf1mdfguLl3zV4YrRTGAIf0imVcrU1OuNUxj1yuc7nNkNzvtt/urz7Wm4YBEIgIRXosEv6MybZ/KVQ6h9QHIrh4f3TGkYE4BN1Tm8DcnpT88ldQ5+RvVdyNo5KCiRizsucBiWev04K6ff/0cg2lm+CAMXyRy3qPyxPG5bscb1uKGKNyBpZmhhJ63whgU+T9VP2p66P9nv+o1kWPMubYsKLyxVd46bUGGiO2cAeldBz+rjFJOOID/Coret1JatKUGSY+JRsUakymv+dB48/g22fSAjlEZhHK0o8K1b/nAHD3219FWRGwcTeHCMyoSHC8JJFfV5ih274U67Re1EEq5lfjSk1CFGcQm1s8D+k4MYR5ZKeMDOrnBhLyF+BTzpVZsD3GoeofJUVqceof++OsDhT//QbBbJ8cz/xuy5nPFCa/MLjSQSFg7M2MDXHn7rZhX1tVeVf7f4VNUCfTX8LjCxLOaVgqCZXyXPdIs4TIRKFlmVmGwCPaPS1PypZVn7cdoVfxON3r9Stm1Y6vdrYnzGD9H8J/jubu7pi+83XmK/Ao9UrlMh3KnmDzkRFN/cTr+I0z6EC3Swk1E4Xo/PJxyrzyCKYcOfQKnv2zFQSmon5+M6rlINf/nIsL8tQGqQgmzWslP0gSMhFyU4KSn6UCuhzeHzoXswmEW8wrzWd8t0G0d4x+FlZ7BAXZp6tNxtt6Y2IzbiHjxMH1e7r33sj29Cf08HXHTHQ471N2VDaZDeIvw+JaRrRSvMw9McBxLKSd1o8dyau+MmguoBjTQ1pViPHUhVzyKoSMeqOXd22nkUJ6l2jFQCFpjw9WLMEI8FIC9Y1Wo4AdmCx/i6kYSsq6tvVyUAwCmgsJsks9aUezRim9CSfRsDx5rfUtSLgejwuSwlfbosKaEu8uv8if9oeIc8KbkvWKIpcK+2zxSazQMaoXMvL9fiRkNThD6etTH2uiJits7XuZPkrYhwSqDrhf2LGpS1ls2Aslgmk7Klt/DBZv+7ILACP4KNmEU02AL7R45XkFmxS8pWOno9kxk4HeYayAk85/vZKT+7aUszvAZG/42gEJBoe///vDvTrEHyE2pLmR8Tv3bUzkcwzM4WvraThVcTo2kpzqvsWD9T15IXQYRjBZjbP10/9CR15SgXw5nuNuS8VrO6s9uvWv6MvCdEnS310bixR7+53jgcrYq93fHVrEH3658lELt/2A0z56YO6p6YNhFMvdkRpRnwXwedOf8vMvL1UOOMhAmb0rh2W+jWywWI6/SqPJbASolN/Yfpt2g2ks1PwFQllGdQYFWClASpWa4PP9/t1xFMw929HawGNaIwSl+558HPDPP3eL1jPG5eR5D0IkMn2gSAm2i/yl8fynwecEPTDUWJPBAyhBf03ipTF6N71+QZiAorHeaFny7oaGmcPP+S2Ca4lRaAH6fJE7Gi9ROGGMo0m8JF4T/+uja8veT4UivgZvUf4SQD6KeII+uL0GFEXpsu6QY3QDViJJKUy7VEqFZ+135Psi1G4G+pIy0qG9tS3uLdg+yoXT2pMNSpkWhj/B5EaQjyOTjBTO1r54ViDh1B/vq4JIcVNOMb7/+eLeq7VzHkUZyC/SS4d2/aHyWQp/PnX29fbvi34PKlx+FYcx9HigzQlRP1d3I3ctrM+c6W1JIQ026ghThjBO+XXc/oUy4R4QK9kCgKteer2nflxedk/fA9NUPbTEE+LVeRDwldsk4GDD4Wt95u2K+uCnEAI746UcW8+/JI9lz0s5roPMmMK96+xJiFfvYPZQgFlqKF0bQ8bF5St7S2xiv4B/xaV4CixNJfVG5AHuBtAA0YdWtCCFihH00eYkm4k8OoPPfvnMR7UUnWn8Vl6zATCOhn3kIlWkwLd2QK/9tsKr5lMDRxblzwV15pe3c8XL5OphnMSEBN0xGI1rl6lhJVA3CqaP9WhpEEwcv5tHkhnIkRo4U/HTy9jLiR5tP5dOyT9pC2aajXVzer6BC4jToosDwga9urKdoXIKO7fqJOLwwht+dwmuc6dgf5E03orgEXBCkHV2NVP1ScDm5v/RtFvfaN/4ubvMyLr1Dzw3Z+yE0SKGms7f3UE3cjPnZBoFN2qsILaQvjOM2H1Fu4W0H4GgnjzxJsjYJ35gCb8zMnVWbbs9CIZ6gHKUoYYiOPpYXjsGooWqyZoTnhLXB1CCJ+6nQSzS6w+/vQStj1IzUBX9tdXw6BNepE8zzWeDRMR5gSDO5Ie9+AHW1n2LpQm65vZXE8P48h9OZG9OZ6trFw5IAP82qHLJwEqFSFS+d3DGf+RY73KzIfQfjMwKvRez7/ILD4cyKL4uuFrObOdeKXLKRrGV8StLXoAE36cdi+S1AP/5w+BUrd8hr+snqBAkatvGukVu54px64mfkIrw4xcHWl/O2auSZpMEphdKMbxFZ+rOWIbvimh/84LOwkQoOG05V/x398IQPFsNK3lGQrE1p5NQG+rsKvIPPgP9YSKsWHUOOpifras8IlM+7vf58kt+LaoIyzYX90AHjBEvaRGsVQy1AqwpHPxGxhKbRxTNk9d7ZprfWD3uqaOrf8O/luEe+WHcWlyyaxHY+r/EVlKgjHVr/PcF+yDOI8+tCwg9jqYjsV+rljXYFdTD9YdgMR21tQMdSldUFB97YG/L4HfQKhWDMUNCZOiT9llmfgA2iS/BOkypqfVvoxqexKnhHVa4aXfGSuixist5HtcpOrxVJUubWjQ/owXsYAjU7an4W90wBQi9sDUrnZ12pt3IqLS0UNev2CqweXchAFQKwwsAx8uxHTCx4sgtGckxtvX3wjGatwsXbJ7H0HJ6EDzFmVRRzDsURtbE7/K/0Z4k6JzPKeFtTzyD4MN1yPEOT7hPVGbIBFIvddV6xjK04cjOh97ptlQP7bq1bVNPp1/Om+PscmXh9NmaJMRKHtIRGHSIwcvrHFjQgjG+3fUtikAaNKHzk0iPZGdOSGXShaS9pDNMbn8rOhGDAy2WAg/aKrxmjZzVIR4a5G173WKzrvriLteFlP8EPy2fdnvOXDZmikhrZtc3uAFMP+ciS/kGO1avSZDGuCZcfG9sxRpGBudUzAzAnl9Bawqqv3OToCsBoc6gsRPPbXNO0pfqGLjrsG2amoMqnDkYyoQxs4XqGhMEAE860i0tb3cZZ2QFOmuFEWIai02X7NYA/kgH3JHUFBnNYP6HV4FgL2a+Q1yQnaQ4bIqNrCyYdbRAu0bGOHqa4LxSx7pEAZ0VUrdHYs34366U76yjxV5mgtNY3AwF3UqEvLgdJa2QWrVi5ggisuKrNYuYtSI5FEs3gXemGYfGTU8YB+VOKdYE+ku3m11ne/FHuKx2COZYTP4ykpFdS38m/vGxjyP2nA0S+zJepTce5nAJZf4s6LmBihY+fMI2SquudSN84+TZwJ0zpNgs/CbbrzuXIbXZ0zemxgooaTQyz6xWm/rzTF899Lh5lyWK1tT479JmL8J6i6uL4sWGffrorU4jRJN8MXbQ2LATxzJ4d6I2UIe+HE206H5lgLFGzKcfwao5REDPkfP55SCKCHXmI9ny/1yEcDrsSchN9A28xmPGTqE9Ofo+5h3kskQmtZSM8DhpLYjd7rUm1CCqU8dwCr1UWmMIIo/YLMPTGTlbVX+2gRWnkr5xKZ3yCBsw/4X7o8Q/9RokPYZRLn6UazUbh3cBQ93qe8pbjs1qqR9MyEFCsDxOMx3P3ZHqDd8M0B1luxOJ3cwkxLzBnwm2pRWAcvOWVvp42Sf38E6ZGvPwcj57/9vvVP1ZfbiZQXNHCxGAx+pjRa6myOXL+eKAKdHHJD0i2heeP4S6LzNwQyZLQ0FiYAwwoYg95VXB3r3uPpW59TnVHnGt57IcOlVWDYEWqDdKNmiqCB0ZtgxFOZDdHpmTpxQ+UMbs2+7ZrWcu3/k2XhjSr3Hq9I28HzBBFezZ4lCpGeiRgAx+95zyVT79XMJMQam7M6e/tHFFzOJoesDHR64VsJjdzCZsC3dsEJrwLJp6IskkzAMYXF78qhCc4ww/wRCljz9qpzN7tK1GRus5ar71Lily1bKx5k1gPY1Rr4N/UUPSttcpH8FGT5Cdbiy0Qz/Ij7rSRC+L+bIBm6Ghfvmw+bw7OVMBd92ueeA8X18s5D7yfaOkFbiArWW8zWta8bcyOfLPgQR7fcwXP2LX2cZQSNFjplcoqPMYE9ZrImbWnz3cOIOtVKk5j8E0fksaSi3Q/a6rmQlmmn5Aeh98/J3VAvCcNlLqxUx3qKpcuFa8Qw29IsF5PdIc5fXqBzP3ivlxH5oR4BuM1woF9yeavpIWKQQRLgZwzQjn+EU/sxaaPERJLnl+CC3pArNxT8pK+Ce8Sx5MvuI0ddMsQKb9CQn+Y9KEwOO61sOQeyJvN/CUUHUQotceEfp+XvRU6ucsTfuTJnsDlDv9U8t80a/Q9hc4gVY28/vl87dPtM7qLmT0+E9tXVP7YzG027Xlv0FZ6MJoFwWTCyvRqO6KR9Au/7ZJgbJJ1NvCIzOYUCGRu3uArqxynxRzF9DJZ4ojMD1y7fu9v3AvffxjVTYY41ylyzS9rVuJHjtYaiYHORorx+Lr0T4f1TLLS8BSVf6Trrkx+xgrdTMRU6F3Xqh1hV1sIaRn+qae4xOiofFGqO4Zd9FUWF9Udcmwr5caBNCvaPR1WxcZHd0ikGVgZWyDP35DvB4mOeOUkCHiIdNB533Lq+fAWSJJL5oHYml9yZYaC0dxs6r0gVDKvrjZS4+Gl8QkK1VzbZc+8K9ezNAb0Ci5j2xwKJUqll7sX9MoexoCD475kPhKrXMOoQypTSRtuAs2xh8NX5oiDGeLqjyh6tPhUf6+l57oMJ8BiidlEha7+zNP+t9wux7+mxEjMtQp6KXG+4rvGMvrAf2/DSedJYAB4uWE/ZxJ03VdtZx8Z8AonugODs7DsxES3RMw7UpPTRFHpOEcY+3UvPwj5QutHuwlrjTAFytuIQ5Cv2EpMkWMR00XdgoK9Xm+zEweLrXLbpXPiRlyDWZ6M3Ozr3N1Rrglv9s5Pfqu+lrmG7dAt8VIiYUib220XZXv0nKoLRaDMRM8rjTGoB/AYOnp52G6JZA1/GYve/wOfnBuP59wuabwHYxIuOUxxHCJjEq0byEInkpPiNPpUp9+v3P/VvGS0YRjhnpxsfMfXgwY1oDwq4nycKbzstQEZ6+Y8JuKYu2eN3lHcNseOJQ5Xab3xvuHXSl8XJb0bKNKLTrUjILKAxy5DYBkjg1zLSqDUuBdj99rQGAjCZNL52zJfo4Ck3CIXSEQLjULIQRUtuVQncTDTqETnTdIHP62FJoWfNpRParYr+YcgpfK5788+QZ6pOs9DNZuylGXYnf/w1G+9CCTqHvqsSDtaf+8i3FOb3NLg/MWKOafQTAYMrHltMOCHPJ928JRmfdGcYM0tI9QFKBcQ9562XN/k0/mbtlx0ZNB3jRFTtQ1m+HIYaoowL/8lIXC/RKwcKKlyuajc6mn8ehEOFJPNQc1C3KN0Ds/xuVCgW+qs3soX5QbWth+oHAJ8YiJqKHkgBZ85CMh0C8SPqF18u+AgB1ts8beXhuzFZk1Y3frdHUSUGMlkEAdyxF09hMrRg3N5RpYy9q7kd5ZkNh7GMFSyn8yaVUzjvupbnxDRR+MIRh5iOoXQakq7UUbdwhvwLsxGU2UK/zYBqDEbryGivUco6D5pg18Hg/9oyIK9y459JRSM3jWLeMXF2SPiWRXnBIAOqWaXedBvd6XIj7beCTGyKoxC4iqWavvVGtK5dZteyv+a5cZ6UnCZViwit0OCNB0dnEHuL7xbaNFWXQihwAFXDJYoP8Q2fX5jwG6/z7+cE2hhznxjp7CHHbBAG5pTKqBpTB9aRHKMSZrVDha38P6Pbc/VEA4qaqGUds6lHcVwUNhsmziaeDFxh3ubcfmfwJa/JYn69KQ+yp43osebV+cg21VViuzszjXHZlq9UFeS/J/uuSXLfEhWPp1Bjxd4RSw4uKlgazBrpuHec0CfyQ/HIUp5kfy8mcsq6p9CFJmg9rfavLQn0EOzlwiZm+ovSFUzrEuC57ZJeNlHIwbrmqs8WoxbgqIIUvN1cm2Aqz8qi9l6BL/U71Hm2y9JhJxbzIQS/jf+XOJMLzWTzWB97qXCTTKsh10tJdNsQSRrmt0Jx9yQ6P2H8Q+0izpFlTcOSrVNSxAiz/uX7UmVjYeNPE+2oqTjWOaMfwwsHJpsePqUUKNtQoB2DMpFFPARWwfLer6G14/GIhNvRaTpGAb1mdB8H0Wmz4wxypGAX7XsHmQWGcWwtfId9Ze1WMMl1Rny/7g3Y5ZeqZH7IW8qvTxLjrgbVn3hMG1+XRrpR+CoYhCoJCmypwnewrOAeDjqD9NOh3fBYD8wtTVN3le4pHH0maG6VjVJWF6jn7OAeoj8LhjI72MPqfCAvWftJQhJglxMpJHB3D9v7SF9KVSlch//JG5KWpd70nqjBvQy6k3piT41e0p6LVIOImRB6u1+bgoaLCmzMfCsi1GzyCebzptQzzVbVgApalfp1f0wUbjvfWKs+q4uuktd8GqzbxsxH84t6vpXGH+VjyhAViVEEUHP34lIklw388QrsSdngTHftdS1sZpfy3clZOSmcci8g8C585GjAmsmsJrZNlUmW6MTSUVCQ04B3rXiwNqUCm+Ufbfyi3ga0yqcUq2AFJWZqdD/r8J/InBZIqNH6vjpRkH8KMUQlAC6w1PpMVkxbmqieXM56SGOeCpYcEmZbIWqqWLObdIqtQFrYlIOqwZyE71gAG5amyMzoCzM5iWJyZQYDuv90usvg8LEzkJAAJXfuMJ4Mjetm/QHxs4GE49t6slgemKxxCdF9P5UTmkfSZkQnDYV+xwvkPlcKDBTxwy0j92NCEmcN9Vxfbxla+Qj0H47P0faiWxqrLtQ3X1yI4sOgUrB1NPxzsHRpF/BNF2UEp2ACjatqzxxS0vsHu+87iCou1ZdweWsCTKLlbRJVbCM4cf/huqOn1ly01j3Kq6tmTe2b7xWSoj/dsV8CZgAEZapSfkGJM+I3g1RKkWzLBJ/HivUerJso1l2g/CVKekhQj3M=" title="Mekko Graphics Chart">
            <a:extLst>
              <a:ext uri="{FF2B5EF4-FFF2-40B4-BE49-F238E27FC236}">
                <a16:creationId xmlns:a16="http://schemas.microsoft.com/office/drawing/2014/main" id="{09879FE3-B632-4625-B76C-6F17ED4312EB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2146853" y="1815238"/>
            <a:ext cx="6729642" cy="4726629"/>
          </a:xfrm>
          <a:prstGeom prst="rect">
            <a:avLst/>
          </a:prstGeom>
          <a:blipFill>
            <a:blip r:embed="rId9">
              <a:lum/>
            </a:blip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048A118-D2EA-4FD4-9A55-E2E60D2C94FA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90570" y="6518702"/>
            <a:ext cx="4310030" cy="4154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050" dirty="0"/>
              <a:t>Source: </a:t>
            </a:r>
            <a:r>
              <a:rPr lang="en-US" sz="1050" dirty="0">
                <a:hlinkClick r:id="rId10"/>
              </a:rPr>
              <a:t>Wine Intelligence US Portraits 2018</a:t>
            </a:r>
            <a:endParaRPr lang="en-US" sz="1050" dirty="0"/>
          </a:p>
          <a:p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F0C0AE2-C5DB-4679-9E32-1A038FEBBAE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843635" y="6518702"/>
            <a:ext cx="271351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50" dirty="0">
                <a:hlinkClick r:id="rId11"/>
              </a:rPr>
              <a:t>Learn how to make this chart </a:t>
            </a: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26071769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457200" y="457200"/>
            <a:ext cx="8229600" cy="990600"/>
          </a:xfrm>
        </p:spPr>
        <p:txBody>
          <a:bodyPr>
            <a:noAutofit/>
          </a:bodyPr>
          <a:lstStyle/>
          <a:p>
            <a:r>
              <a:rPr lang="en-US" sz="3600" dirty="0"/>
              <a:t>Meat Consumption by Country and Typ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2EDD9-E367-4784-B3E8-3C5DF2E0AE6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48452" y="6487572"/>
            <a:ext cx="66645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Food and Agriculture Organization of the United Nations (FAO) as reported in </a:t>
            </a:r>
            <a:r>
              <a:rPr lang="en-US" sz="1000" dirty="0">
                <a:hlinkClick r:id="rId8"/>
              </a:rPr>
              <a:t>Our World of Data</a:t>
            </a: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57200" y="1215795"/>
            <a:ext cx="8229600" cy="685800"/>
          </a:xfrm>
        </p:spPr>
        <p:txBody>
          <a:bodyPr>
            <a:noAutofit/>
          </a:bodyPr>
          <a:lstStyle/>
          <a:p>
            <a:r>
              <a:rPr lang="en-US" sz="1700" dirty="0"/>
              <a:t>Both amount of meat consumed and mix of meat type varies greatly by country with the US consuming over 100 kg per person and India under 4 kg per person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B7AEAC2-BA8A-4B7D-A895-23FB903F817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759377" y="6487572"/>
            <a:ext cx="19274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hlinkClick r:id="rId9"/>
              </a:rPr>
              <a:t>Learn how to make this chart</a:t>
            </a:r>
            <a:endParaRPr lang="en-US" sz="1000" dirty="0"/>
          </a:p>
        </p:txBody>
      </p:sp>
      <p:sp>
        <p:nvSpPr>
          <p:cNvPr id="3" name="Rectangle 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U0C8XL5DlxUTXpO9Kyfb+JXB0EAcIFNjcQ889Mr7G2EDL0lIxTRUiqO+gHfXyXZH74K1y2nrSE2zJvB7zOpczQbGOq5EwF0th6HnRx9W8oBWOaqrMYwnMDUWsjPYSgDbXMSoXIYXhYYXLDHf8cZ66PqRhEoRI42DZgPZiQiBNL+mpLNGmH0b+L0mMGIVtlWkeE7zFQ0UhxCkV73ew4mZJZljgIQI1FBXy6yl/AvdLErQy/1/dmot9bwJRe70aaWCQ7sRovy5l9Ui2SQng7NNO9m9VPrvLJBIGEVQIqNK+WH0aJgtdWR2+UdP7SfmhSILLj56VvLpwlDHOUw9OGJlyFHYzKVDIJRZA68iDQ2qJDwwVX5P+NW6i1S7vmL21UDTvZBrC9AGSobc90lfU+P7Puh2VxF/KJZxGDUjCMy7E0NVNPUnDZkV69S7Wya+zg7iZPOJwh06/DlT2/a1sA55s66VbnZTJUZOWhYwBWgF6jJcXvf5OZDWurWsOymvAEzQ0XBoPs3+zU+HqbzkxdJJnrtBcv/ic7YJluapXdmu+oaHNnZFU+CleZnVpceFC5aHqjqrNG0fqj+msDc1Hl4yr93DIdgZ9eMG768x303EAY+ACTyHTLOgoNTpkxl5RZ1MJeLUROy4gHdzaPDvo6D5HukOcdz4b2xLbQDjeceWSLTDGPso3uNvXkCCpPc2BSSXI4ZenoKC0x1h7SkjDbPRhWzOOZBYKCymf3uOF2CzCL5tbtTUT3zJpkvwjdoYPWS9TMqj2LUVmZHr/Pi/zjV+I81MsdUno+FUNxN4t+QIG7kayV81uh13UX8FPYT379e72Lm2tNiG64rN6N8+8IMFOozumetGKs7i+CIZe2D4zpDt0bqXuZFcaGIPAJ2YbzbnIQryJhOzru5MwydebyRI+0RXBpBAYMEZrW2rZrf+TQAcIAUtUVpZvAgtYLO3lNW7JWfs0eJgpu9D6NK+YKvPpQwzgpKvaMD1VmEQdlH/Dn+ps1n2EoW48wE/t3Fhp6meOuI0/1AWheYyrHKnnvhjwxah/+xfDByFzrDCs+CEJdPscmF9oYqBTyDFuq7SzzEuZEFlUT367/CWHF+KxTqR0Yh4jdJXxb+N1KqcyuDyJiRgg0XySOemYJ5ODOC3fDjXBw89jdegTpt0YAak6A/CQ4gNkimDM+3yrJ81wMTq5rei72j93ffFoB6dWo8ODuWzvATPA9Jt9la262jlLZEhUJBFlelzy8nrUrqzuGKUnKVR6o3kbe14Ifnt7zpRGwFUOB2ZdDsol8LqXxZA62+yYWyGRslwNPN9zy6UUTh3jo5lbYZst01PM5Km0ER+xeG1iuWR2gY33UH5mh1bcpGvrMILloK3Fo4uQ616Z2BYG1JL0Fp/+MBx32FbQxl7Hic1lP48PaBO210cE+Rzyr3pzTCGxN1nYJPzI25lMj7d1MCGOEj3v+Kzc78QLcII4bKzh1yAioZdqfLa48rvmEV9Od9a2G5R2nTehSTd10a9AbwY9hJkszKWEfYPje/Neg/gWtxF8iSBb5L04ZaDByENfAe8EC2ihUpG9vlzKfPlkSEaM+KnYVV230iwMQ6NuQkrVT9+Olcqzjq9PZ7GGoX4m36pSZbPzKsHD8GgQ47Wc5w3Y2D8C1P1F+dBWJgqAHui8cHIsQl6rROtNVjlISss2CL3GjqHBMVr5sZRp1Rl7NGYRsEYy/veNPAnQfNdoPU9VlePxzggB8bCCv7S4a6iEYDRT8a8hx6tCMTNoxsfLlaRVrh1CwEHO5U19Ks8o4BmcWch3fSImJG/iVvYKL5LeSywOar2UZ5EE0z+ggeCKJfLNE6BESFZHBZGAgBJ0i/QQVDt43q9Wycy1BgRF2epIVua4DRJBBkxOlTFnNWdCYVFw/d5tefPFXCChdtOdRXALZZ8DUVBO+XOQG4iSTzgLzPiDBxm/QE90QpFMb6W2fQmIODFJdgN5Nb232kQG5EMWdrb3G1OyTjgyVuRuMOnZVU+flkKq+viyYcYa8J3Bcl1F6g92dNIKOvG12UURxGKuMQAMTXLJbaRm5B4SxTXiRq4ypWIBcAGiBjBbH1qNXRxTpYMzAPv0Xbbsl16KDpCMJv/719LgIV08eM+goL+hs2n/iXMT5pCijS5A1O5sOph8/tpoPpysxquUF07D3hneSb/YPeKV7lUxjh8zvvwfaDWr7vQs8omMbE7jpTVsYzmGhITF6dsYYO6nr7OYe6bkf1qIi+QErTeF0RpjbTSH6g53F5yUCktdv6Kqg3hByO2GEzOWDKhJLS7Ap5hWy4vPSeAmS4ErRZBcGehh2BDtcO90w8Pp2duuokEr396ZCsehdh44o3+s8o7H719LeSeHUlaQ4ufoJLfgPWPiFcvxcVwYZRKhoGJEb8gH6BjJu0XrJsY7lHJIZ23HbG+YLOihYgHz7WQHmp6+cHpwM0gU0rRrabRlU9Dcuv5s6o3eIJ//CDeiZ4Oh0dIUoTKvyo01QtxWJ5JgXD0lmQe7XXo5NLSFAb50wzt/M0K0di992hXmeOw7n4tOwehP6/wDzI1G8JZUjQpg98JiRrLgkVooFGFvA6buytMRFqKHyAjGSlwSbeixlib4PZ8ssFl/gZBWh7A5gZANncRfDTony9nsW5fh/jhZmzYABUYI4tew/TczpzHm4ccGvV09QDmCvJtXFEUUbCuJVVxDpnmhxh+Zv/Z9XPN+XPZrCbAZX/8inaMAE3VE8C2TNboe8Om1JUSXejPH1zQatv4MxFvA4qxw/k+Sj/ZzhPDKGxG84Dm2kMp9N+luJZkhZuUIu7KB1DnKuOSJyALm22jQ/oUz8LZ0YwJ/tY5hKlT+7VNwyIKhPbz6UwvH1zPTBk1ZnHVYFCVyjLM3+9vWXflmd9NW1FU6xJt8iUouTGqHz2v1Ju8mkgWQd/2ESh0cnp0lQR6FybUiyGNS3M9r09LLuZOV/8D1fUMAQVwraXkaNuqU/8lDaonuhmHVb2s+HjSwzHPtDI5w3dBD0wokt4StmYBLLxilgR2H0a0ctWMbTseLCfWz+++3nRosXf8poFL5m4UJlQbp6dMwgXMlvxjj6djXy6qaMk1Zjof1mVRG/4RXknKWZeqRUHC5vNltj9OqeTx4qesCMWsvK6sFkd7VtQOJm6U7+CWD1fNzHOc07qGzkkZ7vtT5LUrlFW1Ls/ppjNlSe0NejM2iW4E2f+e5v76Br+rGObM0/FUlk4uLaMqYydAA+nDTX8rfX5cgUTVViUTwoUe/tikhgtXM+BHYSM02Ds/JKt2ej3cjapyBCuJXg87qWrb99bpGnQB9yBJjJdUGpafDmBvC9VaLN5S83RfjaGd0DXKAyOJCPOZxLAxmoz+lcVTHGLWTfw5UzXkBcYFpmQ+ZtH64zlA5DCAwt7lPGOeMU6Ql0STAlRU5Zt+O+Gr4sE1rDTB9FHlOxIZsWZgrlcNeKJcwy0LJap5sHDK8M+CXJ9IBmXpF5G9iJWQsIyCRVvC8qEAdaAcR88PyWkd4B4pyfw3zwV8WGGH2qAlI+MAOq98aYTOEhqx9EfH0hPjWcaX5HctdNmmDK6kJ1T4fk4cgfj9MkPPl0IZpAn677q+jrXSo/hg3vqxCKZ+08MY2p4mKK0TU/jhv/EWMqk4nBYcmyZ2HYFM9GqSDYLqXPBOQoXjT0FIGV2bEbj7vvjNvH7sUZQ8MflxJrqkO2PdYAIplMyJGKtde9ICTE6nrlNEU9m5EuG0IQpjQLRy/B8jnwRMSul0NUuwpN/UUieYPRfNQu+IMzNgePUL5lOs0cnp9Ez23Mq5jMzUoAgptfafflEzppt20X8+LjZYA872tn1hW89wE3w6el8IWMh0xP1p3JhnAsoJsi1MOUNfOHD1jEx2tnvwYUYlxTTsGLptMhanwNlmYq9vouJpmP8a29iT5vPhWHMhVT5F37CpWkH+kT0TDNkw2mSrxRpshHYw3QQXG1kbh9aCyriV+q7vmaAIjWi+aqJwiwq1tGUcjiJf5/7Wp4kgInL+TgKvrfDCWzInhbZzcKSnJ72HMYWjrWq6k65EY7XBHtw3oWcweJkdVHR4F5zl9ZGzMyOSeKJaL6/j2T6aLVt2O8NLFVthJlCUgDaGzEZXlsGf8L1qkCM97j/ykJ4rsS64rZekHimgh8/Fv8svpvad3Sju7iuspPxMSaFVb7qXSmU9GO6o0jmEOaaekzIAh49EetRgeq2phDr/ro9DkaR+2RZiE3zNnPoNR+CGfXMmsonzeVPCalWZAPNoSCu+i9I5b2BrMKDqr5CVSRSXdajEextLuBnPQc5/qHpaRCiBnlUi6NianSt22ip3S3oauqJbei+jJsTSY/PW2BqikVExGLtX2AWTWNqSnjj5m85r/ZyvkQ6svfT2o5ZO+EiHT101YDN9JnL7Sec9WhLjxj6f6Gy4AEuIZvBde3giS5jzJJzy+zLJeCyAccgzvJfAQefsxnhnXGKBIlPN3/2DFAFg5fhH5s0r/ygspWcs4n4C0j87kSdD9wmFIuDGRLOsg75m5qXmfqi2DKzrvGnXZnGHGAPmw69tgvfWJy/OITRDMckkje2P7LakindE+dUV4WBrIiDwdqYUB6xPQpj8VNIakhvGvAEyDMI9OTRe7aXO1cPIpBYGAPqN+rN31K/Xk1GKJapb+jQ+JECrCAHYwiQIp8ZEx5/Z+lZCgdZog/nDWxPGCCD9HHyQMGCOJxL6WcZhQ1s3Mw0s4FEBtRYSq40D7Wd5/6om65Dflc9kQeAtZn/VCkjDgTd4Vvq5toqNB1JDUSMhe6hPvQ8/F3msw7zDzmugvoMoHuubx9pIFM0xfYEGvCqXKiGodgZUDWBe/ujMFfe3fSjO3lrCmqWqZRr+9VyftjPx42ipo9sQbWGvUBSELmumLvLIW6H0zu0B500wcLWDmN0a6Np99H32DxfBUOpOVOW6ISEp5DNlhUIupzxcUcqrb7a1PF4nH5zMEr44zhjFpjAQ7gQl339qyqTmBEE97ch3L9fA0aeNXDj/rNgNZ2AxQ9PN1EI2vyRxxAetsEkGuulF2AGnIIp4R9VL1HUgWrIDL82tGJkSJGslCFgNk9afWqD2NScBfnn5A18OWfzYBTpFW3EYmGcGFtwTkaRedyAFS2FM+4K6L7JqM+xC0xI+jrkA8XafzxATXIxita5pwsoOnD1XQMMP3wb/4aDF2jd1WjbuUi5fGAbEcZGgBfGBUBxvVgKGVV+TpT8lPAnqaT1I6lHTegrtOTIUSTnBjtaVaUheR3dW0D8Kjv+4V5m79kwowT4iXzqM6UF1ZZmtz2buF8MEUTXUpMpzbs0SeZwxdRNKl3VEvx6jCxRTJu4k26m9H9qMHX2tu/PVo6wrm+aHgaa+5XlX9tJ6kw19A8U9rYg8r/jBPJWmSPhh6ZMKM7zD6hAsxFuKXK0ueIhBUMARLmIt3JbnOloh+TsE6XtAlBIDiMHKFtQ1P8jcRFnLL/A8NdDHS9BvVMwQemvgn74w5fiLF8PJoUZ0Wg3zlm60VCfbWKmpYZsRNd3iIGsL1/A3hQsiRzyMSi8A8uwqNYyfh2E1lQ6ZcQ2xAZPxBaStghb0GdwPjqAbFUo0/VKqBwjmuz1W9ps9wndtMNTk9VIaN6UCSlzXgFieKuDQW9wFfF8qnBCExpS6lVCWOQ16hwyE+8JvFxqjqOtRfSPtxDpZ3b8KEoq8nM4d/3TTBDiZr1O8uDtFLwlhYyBR6SvNR9gC1CUY1IIN1XlbZcWn4PWu/9aWUiDDuvJQNvQZHdD0N5vhANaGfZ8xnF6cE5NKc1L0N4ygWFlP4BKWFVvlvjgH44oqIFU5Qd2EqPKgwLg0xqGj/2AwMgXwcETCeqJA8DVBDLAVoLr6hXbQLJ3MiUJ/fsRoPF4S2vcmOdbIshx+uuNzgWxDjs8xCZei1Ky6xvtK124XKzLx4DagBvWWHoxRrX9I08oR9Yx1yEiJr8A+q5E2JR/TqXU5tIj/jvqbT+DR8Zc1uoGItUxo0vLUXT8TFzO4OdKN2fbaxoywkdjwus1JkQBqDHJwWTm5MR2SixNVVJqGai0kAX/+i57tjMdua9BhnUqwOvczbtWKO3RakFiwGfScU5H+Cl6PeUbWMn0NZOc6oNhMbc2Qn5w7Ry7W9h8aAH4St47EI11CnhSi/ewzyN/nLsVisli+NkOLRrVJsnsHQGGSb5Aq2SCeig09l0q+9nJQAr4UrEIPRIbNVgoPrixxAgXj8Rglb+DTtT4co725Qon10USWgzxkV6cEGb6NE/rXvSYjepYY8geKitobXIy5IItWcBUgMeXTDYtRIkWH+09/oGf3k2yF+DKhJsLo/DDdGh/U2i4Jkd0QQ3Apqqw46l1Zl0TWkTVSBOj4eAjxFzVYDSA6a8KttqA7TMMff7TT2DeURj3Wo7Zylh3YGB8Z48byFUUWRpI+aIv5hK3CDWgeCQCcCNkZ4gOgf2dQX3hwanLJN7qMRdJ8RXR7wEedY/EPEnfPpu4PgMsZ1sBdal35DB/5MqIRxA/nlwTUrzY7vU/Tt6/RqQ7ZGvNgdK/H+5DT2317M3XHYqbmS8viLPci1iaFbgLKp5qHjyoLsVd6PPf4I24YpwV9sXXuG1p2PPobdhkQOTlLYqugL+hVpq8dF+QF7KI0pFzWSn9zbOMm1d3oLQbVA8+Hh9vRvvUN8xOoQENWtRr/yCeuU4NXjWKPVpv0kjsbSmo9UgAP5RGglr3hNtRwaf84dn73r+dup21mewt3ehMTyYjXPIqcJ504dLneUrNYl7Nu7i/f9jygqggjrPQhWB3qI0dRNNazutQCukgUgooMPHM7vK2hjP/VbMcdNIirujIeU6WT/xZu6a30kVrYi1UD+gT3F+Z8jOktGJR3Fp7qKqb0Z6L7bEQoVJsstb9PRjUyKg2acEJdI/cycGns9/efbzvHuZH6EgRD4rvF8/TYK0xI5W6pnzQVe17pmBmM1VtPk7EDjVE389R92yxZgprij9ipkXumN8XzlXY4Z8JXC+ive4hyHcWPSeRD6DUzDpxHIJgA6FbUtdmHco1scsCcF5p8AcMgJARAU60wjQAZYAOD6X4g0cR0PLH2K59b4++fERYUhJubd93+tsdZrYXmQxmOWCgPvDaUBbUdt1F3JfXV7cVPMnk6aMnfySbssVTUKlhM9jknOSVD2Ul74znL4xR41M49pwtov9IQigYYBi8KEynIF7j5doftUupg6ijnj17O6kTdaBAyci+9HlLGyEpDGEX7R/+0/YuV3iOGo9yeFbOZ1mSdTWNGI5ex27A/sFSbQne4q/wmywgUL+upBbFfTK/5COzBDYLukOgMBdyiasWK/b5l663tz2KOD2pUWanx+aHnkjDwXq3XF6cbFHnIKn33HWYjb8jXchec5VmYTjY2U77JusJaHR+GMa6ja24npTZm/btCfk0ZbMEGc8kpl1Uc9268fFEkOFpUQ77N42lOwndTJ42gvJOp8qLux2pVAQnqwl9TG4BQOqMDRh/AQROe0WGo7uoRmrsNyPwlHzrivgaP01hC9G4Y++EBCcGdqBhACS8bRH66qojTIgi9oyYeQSeYNuurDJiVObQ3ixa3HcuH+lI2+IjPrB92NZCpSIFb0Ce1wH//tt+kp5RI6eZ6WjLXfJ3HdEKzVbyjVjlPzhL9Muub/zJG3SdciT+s/JZU2eC3dHlCsyuVMOKxuRx2O6Fkk5Ml6kSM2UPs9eHmtsd3Mt6E08eVJ8DAgJodN/9d5daLW7wIXcyz17MVSapDckt5mrtNCll+Db+T1WZhy/kJRqHlcZEsOMg077bkw968xnF4WJYCNp4Hb0txU3P2vNs4VgiCFWiCBmf8sN7JaM3STcSb04KX4+m969XxsIAiPFuC9LP90YndMKtCiBKjcWgiqoaIu60KqEIdFRCYkzJ1EtEECB1qbyP9br1wSglSAERg8HFXceY2i3E3ewJetbyJaPcemnGuPHXH2ajj1n7Dz6+qTMCfxiAaZ97cejaVmqRrGbG/uMA91vropSPYiA+RVo/fcLQeN1v0+I6l00Tu+2Awy4wkQ7q9GC5b+HxrDn5+tZnmkNdV2P8NFwYmzbB7u94ChpkNWQaAVLBkodYLSt2093SA+id2DgQLxragNVFhK9IWdwS75TkBBhnPHziBXSLL5j021vHZJ2eUdjCCEpnYie869YL9agLECyfP+pcFv949bxiRuTR0ATr5kqQNaKDtviX1geTrNQlEZAMmDUZaDkBIrfOznACZFmdPT4qLjroSniYzDLah9cV5hlhfojxUllhhtx9nRQwURi4vz8YjopjMO77DNG83uKrWCX4sE1KJf6pAwRLIU74d8Aa3DqKgDfQ8jiFr0uSYhLIRQksUpOxFGB3FKiYYQJ6bS3cw9biWzTwr32jensEVOKDOHAEZUKTP2gpkegpBsZF4/sQfL0IIM3+ytX5zCAp5GgQV08BTnRCMGoQLegTiMG+xqQb3zy8V9+CUUaSIm8TMOPT1dxobZfsRtDZ6GC6TXfTpT/TFlxebAsfbmvGD4UnJLtERiFuoZNOIYwaaBXt9KyvZsIOkyYAqq1+0rIw8vFJ90iBDAo3dTb6D/7c3DTa0Tn8PJjsvLmHL+grWJOgGxPzO1nC8LPihe0KF31CxCl4Fhi71vni9ESYj5USPJofyi7/aocFcTvQL8is4Jw5L7amP+avV2iT1UwATPpVZXUTdT6ekQu/ANten4eBz2IDRrz6hlJm6q/G9k3OKZeHlTAiThxpQOVzcqjdBqqLdFyGoYysDLxwr8rdC/Tzb81Ld3/i1ULFSJ2mkiS+ei0LoXELpthljRgyyQ8U90K/rI5hiisMXhGnWEzUkgcoWxxJ9wODbBBhSxoIbB/PgbNpGhw9Jkip1ovL0TxstqwZH7HP17iORz9OrKeAl3UPxWz7FtP3PKbvu14n+0kXLdX4gQ9sbqeeo9LrvAQt/I6xtmmtJNpR9aDFLBPHxmcwHgkP0g0LJm/lq2jR1+mbJilZ42hG4i1eLvB2ezjcRgFS6AFbqT8LDJdKDsJ/p/bEYznEVRKlJmwz/JHa9EQkVHkRk2fJRTcs1DGPDH7RHd/y/DtZONjpJyfxEqZxmg5llXRJVBqdxxnyptS6Y0SI+W+gtF4kN+nQrI0JimuaoDQ8oCEJyz14Y6wllhxdnuuIehBNsj+el4b8zW5Hzqc1cILe5W//La/bODTN9X3hvCYMnuUhJ+hbpao8z5YK7pPFfNSatmYB7RDXPXwr3pQA0f9H0y7DM9/nloo7hIxlnBvbAWIu5sUD4Bd44+p2xFnac8EL0Okw3GMTiHd23fdlsJQtE6Fx/Sn7f5kV00w3+Yn+MloNhoGsskWBEQ3HQtErrJI7u2uV0rnM8LM/42JBml4xODVveuE0CoEbEMFhU0YFrb3YKo7as9m9JinZboROdFyOLkHS+eCiC7kD3snX/plF5S3UCxtBJuJF/QlbEgwlGqnmz7hYzq17ZyEov0qxxVNCL6qpRwSWk9C5qYIhRt7JDms4NN7tAuE7dTuv/Ti0pV3meYgFyCe7xDTIVNy1GTqbnuA6evCxiC1m6c9GSOL+ORNw2ja8JbUdOpCXHe0i4JbTnL57EIuJYTxbqIf75YomUsGaupChXlphoCUX8ae2eloAYGSRET88K1fB/JUOOPhEO0lfzup5KxX7GfZmPNTRTUupemopFNMRhikDH7ZiNsUxOIU14sWK67Lpl+jRp58UI7t7OxkJGLhGCLYN1voV1iBnEoO45Lzo60znnLY0xV9DX+N4bbVlFt6YPPdFq/0A+/nFV3BMYVsdplL2Pqk5exyGH5EsamUlwAavUCT4SRGa65B23MvnLc1zPAYGGZELZFkfYsIPvZfj3XgNN/DUDAWXxXGOENkFlVXf10Q5NhhqWkMqFGr94HrRhsM2ZDWMdkbdLeeci8YbtpRuRzYTK2J7XpuG0mJguwkJVCZPMirG++Q680tzAp4Tm5BrdZ1SngHPk1JaxXcHqnyjo81gQreQ/IZgii25LeaSCTGoEDdJbTnmowehYiPY92LDaX1x82+sPSqW5x1usi6RJ2hWDNUh13AMujBOYxX5gkYtypE8/Tl2aOIfy3ovlDYFb0p53H9m7e3QV51s8eKMwwPpJMh7UWx5gTh9kE3pGeDgCy/j3201paR7OsIje3MnxSYD4v435zjnhwlXE2wutrOUJqDSKgzqyQFBCTKgB/OIn6mX0WcTJ8dlqpa65MbDl4nTd0IReTKBDaVDFWYVfKzT7iCqoMVoL0mRFV9Y/XJZ/nB3bN6RrUA2RbFV26b/1TUr2oZ0q4MWpTXrj1mCgP/vzE6FpBz2MJCCf7nhHQV/dyzf/RcwXAY0YZM8BNNbZi2OL8FN+bYqsHo2BrnzX+hHwkhV5i79RPcZ9e0LL+n5uCaMUlx8MhWnnqYXukK4zRvw/VGmSmT6AyltvB5Zs34StZ6KWT/3aoUnJomWJz773PeClPqZfri2X7h/jrMHghpF93Ji9LVtwc0HbDwKmiMYtqZbFDZXfDFJ/VAVBubpYSkhz56haD+k/FOl8IRWUlVfSNds1mZA0acqdScIJdB7XrZHAf4bAzozZZDz/WT6+9XshciVXoafj+6cx7BoDaOJgN343TOdsRtu33KPbW7ln9em62nSC5kizt8878+v839I2s1xVM1dcAGxkTw/F53yzGPg03swLAYGGRJuXjU6x6LrSziGXI+6WEG+Sadhc/jOUKtP7lveQ/hDHOCHE+Kllsj7ZhMKYoQ9pknu6CzOvuQpZfi/3HctPkDXztulv9CG70aAQkZfd+U7fLJWZ0qj1NmpNSwQkEFoSxmI6Sp9yapJDkPQlnTglxbMCzd5xACzpYz/DsUjA5DK0HdBfoexaAInJefl9LAEjr8njwSktmhoTLor/5AVENfGJluG/JwjXOnl3R488UfTWnfZrB2+ogIwIhJsPPeno8v/DGRARAICcBDVFhf/hruqXkCiOGioYyngJawylXZfKMOROeaWKo8Vl4Ox9RHNG9TZewZeSPqPoZ3iQKISkbkKrvGbhnG5Eyxg2ggvsb5EPR7giCLlWIoW7souzi9gPDS1kC+/PNPCdMN9ngDcPbs+3kRBtkXKYORntkEJ2JpaFGZHNmkDetyQ1bAMbXJqoXbm3iFkdpYMJ4ciTEJfeRapJZkpYN2TZH+JVpDubN78k4kPLpQXG1z6C327AJXjPLwnuRqHmBdFP7GmYrjlgLkyxxONsjAZRK2Tnp4E0ORMraffdNUzIkJy0k5wQk6tQqK3HH636Hbbc2/KQ2ByHnAfAY1ZC7cP7aMBfLg3+KuaqfRF02knfjtl2OSId1OCZhoAtazqK75AVU6bC3uewbuDDO19gIElX/Zea2p8jJYdf5egBnhiT2FngKGPo1X3ohyhICZ+rHm+aaHKA+2ojha1RGCyKiyReEAodDGX7WvLG4mZzY1IWrB1+UwsPScJ7YB5Yvc/bb0dMN1YaBtEPeG/61MR9tGkQ2oxc51y5UyHPG2rFQPgR8Lde3LApYsjnsnxlFSpFyyGENGEwn9xALRNkBb9O1Z5TrZGMo9DOyGYbQvFVTNgMmwjcahX0Z4eBCHl76rSbB83Z+BRHlwloW/C9Q6ouYWF9KTftbFt2hmHIaNzoUgKn+8qYrG1kGodN5UbQTcgvEY38gv91uiLkjONsX9fw6uZ7Oz4NAN9I7Av25vt2fxwhqPA8vOQK7FIjbANf4Z4eWU29Xz3g9HnIGxljhbNgN4A8uJU5u/PuTfiED5J2B1zUeMfzaKs9RcLHyOm1mTCN+Vx3QtgQCrhfj93guVXYmQX44AG/LcTrRQjgVQiFCN1mX3uN9KtxRmMySbEBZdnauFz05PBcFj7xLygPmT+pR/tRNwG1QYg3YEe0/y2/OVkl9YqKJJKAt58QQhOudu6qS/tiHYDzVuMPDOLZcfHTmTEW4VC4dLIsDpr9Ss/a8i5gaMye6kKqQSpx0anRLxp5qjC0pFqXcQpcAjNIAbhNtLUlapYupDCIQm0GnEybGL3eVY3LX7VRSPilNPOWxKyurY2d4zqHnKTK/vafBMQndHm/x/deKPProa0MdsaWE4iQIwYhzGjmM5sG5HZDl3cnwR06Ko/RmW6KGYFL/KuJeLn3rI2+DZz126Rvt8HlCcwzCuY+XrV2QGfjSqzl3kKcwiHLaHvXEZO9YuOWLpBUMa6K4BC8tXZVcH+2GaOTbT1ZQ9whxcBDGycJRkFUlLNfypyvgz/+Jrd9+f7OW5dilVA0Iapwesz2nyDN3+iB//TMrwjDvR4l0InvYgubDqMlvC6+q/dB9JzK9V71gkV1oabuXklMVG4OdOtEwref3HGEqy6UzU2wsKrhzRshmgr6r0wou6ZeNYY7SbB4qNWuG88yquccaaTcKkNNOXxSjGZS+VGPzi/krHFwR8KkxwAgBwuNxfwZ5b/6OfrmSd1060w+Bgi9tX7MYAciyeUJbeBVH0bxbCi2BVA39dUkj7gnYiJvJL/KiiBMyFx50lK1em3+smrwwnjSwgC93dUj3q1ISvrsvdnDrct9oVv8XuaxocjzWbEDJ0Xf/v1dYb4/v5WGu7NXbCifbGIKgcTl26XBYiz225S/luw80yCb0Sp7Tb/GQLRpLDJQiNqGJ+MT6BvvhdWpUX6NEtcT2TAVlcIVj6ZmfEYfc9qsQPwdTXFWxnLVYsPMgKLg7RKn99D8UuYR0Gp56tev+WsGpJw3ycC7Z7fpqtqWzOsm5ULVzqBmnTELE19aTKXhXQcJBI9hOxRoPd0vOOcS/jkpD5bGdOq3wV4L5Y1WfPSZAnyMBBV3evLVe0doybHpwlvnUNEHp/7pZ1laUktmLeWsE1WvE8wwEmD6dup+6d2ZGRkSaPjupDPOEOVTRCpH758Ge7f7kvup1jTze6iWFUBdFmkuGeSLCsiI5qblZdvdROxoFOuuIklWLk0uTNzgnspcG97N/mhWQCA7dVzWL3IESJThphnPxdWMkvstwAab1Ku5vJlGhKfT5wSqtcvxTk9WOzJu2pmgi7gEpNQNCFXZLsRJZVLkRs39LWmbddPmAky/7KlQEq4RVgWGFKRuPSz+rFIz+D1ij6aMXhqMqRtC52FAxX8d/FIYnG6f0tt8HqTEROK9YKwVZyPQ27bO7rTNd4fx42t2Mw0WmqQ1vmH3YAnBw1OCGXD/BqSvM8n8Ft0kqnYXMhqokMp1rD/rVC7DzjcCgAKQhKzhme50TjJbWwvFUXUxri8w+ok1hdGWe1b+ZmMM4lCkvoSlKXNwFx5xzeQZ9wq+OBGvJDTBsC9FdORDp2BQj083XHCCxJpP1H/oxcl33v6iS03I4HmsTiX9e75kw6vfRZSWUTG5URUu2McMRZ+yb++nvMoJISYv8j/Geh1QUVTYHmf8bKvWI9rxZRWO308XDbC91xHVEDhGuDvGEUwQZJDbnG7eMX7qE0J71jXyjyeKWmQV9rkzNuv0FF62SGFDQXaGjbc4vsnMkxdHK4fFS7XWkcpTLK0NIUosFdb7auqBB8ZseFXds+Dnlgweo2/OX8Bca53NLdUGNZeztLkmN5VbRrF3LwpS8JJIZ867YZ0umegYJdZvFx8iHhE/kJ74vslKBkxyccSqNlZFevs0ZZ4Pzi03wpAC/OkWdspyRBCz8MRVtmv4w5ogQSW+ZpgIKh4WUHIzGbDKCxP7obNHtsjjdMbcoj6f22uoSGFtUnFMSAlMqbIuxkUWcjsPibI39DSN+PlNmkt9X1uhyaz2uFPuFhI7ZjqalbbB41GvBve7gLMwvNr/VD4KKaXODadyQfKfn2k4A29xE+xc6rc+JGHeAexmA55MvCgU9e4Anqjsc2EJv2Ky5HNZy1SFVNqCYDUNP31CptyJAEuDchFPhHCdfAEcuczhFhHjf8378nwzWS5zAhhx1wEb2oF6dAVwyoFmH04QeIV57QGcyk34A0kotw3eI+D9Yt/z1UVcFJAhyOMnEMIRu13hCzelnoAhDyj15h/Qib9XgtgLf5mOPqCdSDt+dAQEpOHMbN3mBWGYBvDBJG0C3lJgoljzYCV6XLVksjUsIzB5cW597TfAV9ldp6fi7TfKzVZKUvt+Oz1uCnghzfXGBmE/boIpl6JogLUEkx2JTOD4j6VbUTdgPtvsskM85gYEwSg7gdlBwSYU3Ruxrvm4UjS9cgaGbQA+IlZj7SdJrtDKV+5jSIAXBP3i9t/mElsV5yu3nD0R6pquYQQoFBIr97QYGn3TTrh0zCRT2iz0JQqvV0Cv9sGn3lQ48AYk/DY/DrEvsls8da6R8El/n2a7YcWxSZonM5E9QySJtqeHdxgezqDC7ul4DCWbCxAl//XjvYyWvQ577e+Ep9gIK/BbfF4RC9QXEaO8/nt7YZ66lRa/N/VkiqYYxjXx1mP/pHztEQ00AhSgQ1xfYGQ6H/qi3BEus5fgiksJo53lqmt1NfEg0ZEYmsI7/acm0J3zB5bPZdHfq8c6Ce+GBPSJ+dWv6RRcwLlQ1LRL+MOhkDAjQ6iEuk4rNXR0bVmrxcCq9fGG+7fVffnShxUk90etnqiNUs+dQV8TwilK403laJ3/DwnNTGTblNOAnp+Ot3opl4YXp6EzhsIhbAwMBFRG6I+lGbrWdrgW/OGxpkzUn+uC/ELZaOQdOrrvPlcb25f04GXf0vtjT4zuQ8xQIukMSTEQD6zt23cJWBblYgndOH4dIhJr/PZ23WBWjsEtt4w0WPtgFC3SxS/mlZjuKbYdoy5EWiWrhALfIUrXahtl4LjWLlECVMCRCKo6trk9MUHCRsEtqw4fMtqdabCnv42r28bbgbttaKMINg1I6Egr2Q6YUykvqKsFjYGeHwf8eK2fp5c2kO3quP/CBcINlVkTtFinf5Evi84h8voHtSuGWI1wpOrPXxND28uPDPaHtonZN0BIbRmk3z5NeU+zRkMJDu1lSglneiMGZb5f9fSvjoyGgZGRZ5gdDxS8rWJgqYL1C+XQQaWKMxdDRrms2grXVDfTSJJFLd2Hxpd06oUEccmssdhJ/MIoOBQBi/8Sv5zlt6u3WShcmmQYAjn2VitpfuMHNtW3jQIB/q8VK+2uKxyjoxI4ZssT1KHeRRii1sUNW6GLgOnkrzF/AC/m+5VNwptDrZbbd4uri86KFLTUDCB+IQrQySCZC0V1RYib2w+vC6iSGPUfcF4Ghr4N2YAryDZKLRu8/2Qk0vLQ4CUQAkEnJtUAJp6RU+lKJcSFz0lJXyl0qy33/+jgW02wRV3JWs+n7p1/mF+kuCMoSj6ZOUfTUrjx2MciPhYjmvMd01BdZCxd6vYGNS15JayEGPL6yMKrwg4lh4YIayblYrXNNS43gmmpSDt6EKKVDuPjux/yE3eE+dRndMhgCEIFn5al61vtgOVOMVGZdtBm5tkLzJJ5HdQV0zSkly1V4Zggz8ObSax3yxrfuPXXmkCjyQvNGIspEC+bjUiAZ6wsiOZBfDYfjAucSfOEuDR6MYTDmo1jU6GFdA/Vf9NxLyZ4+rYTQGb13JxvL1h10mQ+OPf4za5RktPdW1aQ9u4F+5Y2DmQrwN6/jR0hnOFIpzA3louiu/5ebiIIOtMQm/Hwa8qEkdZgE24KPzEuYp8JI8gCm7CPy2bzrmoQMmBRcx/VHBIhI9q16Lw5GnwL7USbOOMncy851CMgk1uhNnlK2O1gcrE25ACrwXbsWU6VbmhzeQzNs2iUrDsa8qfc02llQJBdTJGLXsBArGSBh8GUjefxKtIn9uh2YnWwJVh0lWtMVMIvVns5VNIy8U02lr12iKiMexojjyCCuz9eaoEvg/6Cp/85jx23o/NlDmcgw/Ny6LNC7m8WJ7jtVeHofd4VCXfMFOxlUCb64+NY8rY29Z9FRMRxUvuII42oV5uhKp7U3vuwriJqDdXX6i3TZPAc8x4wInrTZz8x+A/OqbAbpCxp1OlgqeXHwgpd8ocY9cfH4pqrDtEK0y1vtodVYbfe882SbPdrDT/2T6UKKSygN7DaZV2Iz5I6Ce31EJudtpucmsQBF33RuET2g/YwWIjwzKKqH0xKvPbEJzKFkA/VPYUKmlbQv3SnFoYQ+L8Ot3woSRzxVKxHRxBHjPPRV8rZcd2npU+3xUtC0JNJoWfnMamS3EZC2/TjR1KIduVsss4aQsloFpQg0yZv/6/Cc8adsJMDAbZjSpR31fsVPAfWGwdhgEpnzHdi8d5a3oJ5I8qnF4mwDaXR0ZLWaKj8Xtic3/QISfjK596p+jLBcjwHsCKZOzPyilwq+NoWdfgB/JZQgkOfI4f+JNLsFZ9R+b12QErUZIDImdkucFfeiwUOpI0oa/qxMZuOt90FdQ51T33tlpRlNVnG1uA24W2Q5qGmbJe7+BIr6RvXlShnaZsrurgee/zVniTfokTNLbK51Bp9t+zX0ejDC+OZxecOvUHFqz+gKpRhm0xHUuJWenjEG0n8H08OchpXgfkxqL2L9DuOnuEaZ2d6w2Uyk86eIvcpC5DQdC/rAXBBC0PsETwg1y4g1J82LXcNIjA2ULRXqiDJocWSsXiNdQd6YjivtqSgM99i4Xpf+by7jxXkZuzt1t1H+53GuRR/NLuNahMXLP/O4uQxDonVUN/B/ny90NpMiZhWVkqMIlwhjM6yoJUV3LoBmY67BeRImwp50AZwixhWCghIt5pIdtH50IgqH47cvBAfQMMU+PUfHDVycIzEI/UgJ5OU70xcTBAKrP5QXzVqXubVxVxbIrayrnGufHP2zcJ9tuPThFXmJbbd9G8DpmXbcA72xvyTisWCnxNmCc9UHYJGVUo4r/G2gBDurB7HqW36aluXOqx+gLqXyGCGV7egnx6PWJ/CxYpEF0PGn400VdVNHv07QjyjiaZ7+dLGWs9Uf0mRA/0ATMKErWkHhjskwrDiCQcrqPreeojL8SkUneZhK4W/ePRdG5NKF8PHuyhZZ8vqQpxSFlVLjSp5yUDl0xKil6dOtE7EPY+n0C0lzYudn5EQ/r6M0b5OR3NZPnjcpU4c9u4JMJRY4sen/tudthAa9RGVtnyR7c5aQUt5h4Y5ydtUkIqXMW2gS/REMyy7+6MI+R38Mjt5xoX5ZsFx8L2IxQwQs6KWKn2oeH2WipdxvRxWt+YNOlMADXwFRAnKCnKx/R6eNloemDD5/Luoye6CGsRtrmEXViNcsvX6mTuPQfN89mdnM4bie2q+PNe0seye7H0FnFtVBlOFk/rFf6avRCDRH3Qi5Ngxca//p7ZrHL1/n8WJ6FVAU6itHZ6bHncuaU2SnTC9NXIzb/c/Yc5D/7xWzCrY0c+5yIC0jvIRCUmrgXruqgpxA6C/kl+zK6EXweFeXWdSBl5p7wORarcI7rs7be1m51syZWWOXVjPqem4D3hAmopR3Iwzzcy/3LYfpOrami7thDqHMN7vWhQVgR2iezfD8ZTIJk0bduAia1I9TeaWMGWHT6eS6/wqr9zLuu+bn6qPiaqYYx2squoqlNrPpfpiyu00xpvYQ+cAB//M6soKzlQ4OpSmg0UUIzLGOsmZ8agymGBdhV0tl1ofX4101Gg2CEHwIMkDv78DENebH0J9DsA+wxlTRCpF29CEqG4jHc7bXnqw+nnHl3fdZ9d1onKSesvi4HQCkMTtbWExxHjuXs3wmUf6sp4e/SUPx2fDCfnDOxKU1BRkCeYTb8GICet1gBjQHWQbdeTfLek3K+OfxIe/O6mBR9pN9MbWkWEfmxTBL/vWLaRXMrkssN8NT8HEIn/DHUGkkpd3J/i/ursaWVYQMORcCN1OJXeiF3eTA93HoBdoiwQenTQO1gEeJWIFjfR7ZywmGw27GeVH+XZzYzpZIplL82adz0+996qaBPG99oaDSThyK4gw6ANjaBQBt5rvGd4CTMeIxqyOsrD8Et55pt6KnOuEreNpGoaAOSpi6JFXOS95OyCsnvLX4QVxYdYR0aVPIY7Xp5a48nn19SAksDC+guPkTWtC1CWpMv4TAAUJ42LkeW6/p2NPlmkSHphRFnTdCw8elaeYoJDbCWMYZGmWYo+X3yaLfMPnP5uiXecOFaRXJeE6AL2zjqQreQoxSolcvP3sVVw60JiBnJIajR3IyEVFJ1jtBMPPC1DvwAvuYwO55Z7KBsD+epGejbM62my/MGQxDr4nSv7/1YI9d/KONgO/SHzelSE+3qLwqy1zsp7g0HGJj1Z9p1A/VTVv2NVlJ5fS9TIDEY4joyruz9HiHr6o+D+KVrcv8fck8YMjtnSKMymVF36NhsdjxeDdmXLMCioF9rcUuZbRmec9qEO9fgUKk5xO61bkEeGh+b1u5zRV2FBcOIcRIXPfLW7v8MjCjxMAgwe9LUIhmaPi0JubO0GW/p2XIEKHOV/DUFuPJkEdwRtjMX/fvMmmuLKhFVeUc7mPQDmaNbeQ/LMItpYHOVuc8VZlM00XBTevpcE94vF19gSsRTpTrnw8jxhcPC0rXhGBNMynHnZ5S0w122MUglh8XF3PmNZS1jbdk+T8xSyCt0SdKCdsCqOAx34lRfo+8a+XjLOgbFekrKuz6JGkWKUa/DGvBbVxJAxWGgd4HSt3nSBWu2guRN39pW0DqCUsvF+ra1nJNjNeMTCV+T/BZNYRb1DvNn3ydSMMHj6+rdxhk6tut7+6dq1kfKUBkCbrR2kYjaKjbybVLzWtDZ/V6zAl1pXidqcL7gH9vnXqd4RfWERV3XKpiWCM3uC67kzCvNR5M1AtQXn3DcE2aFrsHIp6b7371vg3EMZfr/ZybEwH9P3bqrGPWUQkJcxf6bogH3IM+MVauisFj3F3GIKznyM9meKrm2zYwLmJofvyQueFsVQ8Oh2h20x5g+SzJ6wVDeUUGJ3YtefLBe+XnYe5xrw8lgJpK8hrD4u7UVHxDred3NzWzpmR9aByz8tXd6600Q2hw/9dLthhEpQ6EGn84ZMEJcGQzQKF6eWg4Aqekb/ur7XYL5TYX9YQOZqUlIQohztpOwjAVgdDmGggzTb9NPGin31dCPm0MOo7Plu6SAVavFMkqGI4ETNu79CsGZmA7rDwf6nESlgBIXEauj7FQNODIZ2m5F7Cdv5uSGaZuHNkNBVmiZe1pc3BWsfYZC8HIkSsCqi1+voPyv8oG6Uc/b6cIfa8l5FQ/WOnWjY7w1uTH6U23WwHiZ0y2ptrcJ9AslVNdG4NzgF0hdtZyiGqiLlOXRPsZO0j70r+4Cp5OCNAxbeARINxW8A0uyJdT5Z56tHVTT3HEMxfOoWHnzPOacsrEzG/uzJ9xOmCdps+B4AR2iuknf6vjv9/57E8wdW+NMUuIG5mWvSfBSlIqMn9aK3MsuomMxA4WfZdR7pVe7/WAK46sW+GhbaixrHfJhzO1JnhMSpBLC0RSqEpYHtVDIsaNPc/BVQX2DXl7DAIjl0aus/ZlsJZxtK8/0YKEFv4GA3W2V5uMwrpGBjxb+NyZEsM6q9keyu9HYcTDf3jG6TLQxHB9B3DASVFosPD8RH2dMf3aukc5zNznr+Ov/2DwV/w6nrE8AfaTJAkwd4pgv24snmzvPsUrHp5W9leLNjAnL4bu9bCBkMkvWN1OUy66WWNIIPr/d5zw5V/MUpJJeBcKf5nAvmUKQposijb3eKDCBfCud2ZnQ/MXxUxjELr71ONgxkjmIJudge49mLwI4MEkiy0qvhCwN1UIpRTzWeHLFtEAf++MI7VfLSkkjBLsppGvx276xFO3yTJFKQNjH0Abu1ULfgpsCotSwrZ70yTSjJYcOWQUGXkgDAaPAx97LrDvwafQlAzchl3PBvo1YwWr5Emiqr84fX0djhBCcC33gp2r7hIxelU5/NENXVB2SOVvWkJcIu98GxKChHKjweS9xCu2jV1EKfc+Er9wAzMynhO78nR9eZfr5aELJYLdDSi3QZnGluMXl1+WX0Yk1H+3+3bwH608IXFS8x/ygGxiSS+UXuFI9nwembNlIOrm+G6VAHKez4mqCOSqZ18hk6cKzgH5ZZVQ/j8HhXgGiusHMSvlQwFUi1fkIMZ04U+2xxtCrKOGRpMLc5Wm8X8S/J7lkUrnpVhWBursUBfhpbRyTp4tw4t2Qd9JD33DaLxus/0T8kqX8bkx+9z2EF2KpAQQKp+dGNIQpAcPcsnaWkzXra4OtvZ1QdoHRVdCsColczS7LuOIPdEP2pTP4i4VQe2bJxo9Nzo/V5vOsSKs51JU10VYip9kbGfUTnipioThz0U/BivXo+ahGVRWVf+8zkdcN9XfvhZeDsAXDuJn9iYy7T0Sfyv/5LXTUoD9quFvVmpLnnCHSULtyfBbFqHjl4Wsg+Dhismy/Sngl4bgcHM24MZsph6BqZAMAAEERLwQnz/UOk98zuHHoy6c37+Ne7xPcxu9bpAYF/3U3qb3IgkZk0i8xsviBck8eUOkFU6iA0T+Qmb6CfIJdkqXIU/Ni9QD+IsA+YpiP3dGpJOvhVuSGQ003+sMeei+C8iORERdFTF6nXeFNxs0mI+ZcBi/Unk+gCH5xQHrqWvOvv5fJY14DGNAWrzPpqU/ULntkJhv3DOSLRXdWm/9mM1tlz22JvjWu9f1OmRwDGGvr67uTtke42NeSCpVPzuh7lRvpxb0PHVSnDLad30I3oZpVvzcMSzTFln9FLJhaLv1gK7jy/j5YQR8Qs2+no0mXH8Y77xjzAV3E/aeodhJ4o/EfFHU2t7bBQYAKl+gmkzLPRfiA7lmsBUvgjdDKPPJUtWtLAI2+ua7pTAmk9w9AD2FSotFslZY34xgmlCzWABMgbvRqLWKPHtkRLhbhWx9ZJOXOPRqXlwmJENSWlFwRkEPgwYRRRlCzhfYLPvdMz3f1tSjKEl91t0Neofnac6B4+fO/9Ro4xt31CIFMTWdhFT7DGe0Jbp5MQ0itO1E1T23YXaRvR4z5vp5qNP6cXNN+2zhURYnl8SxrFEOklgfGON9cHh6tcCrdhyF3M2GJs6qQhWmHIPKTZ0zvtgz70cWoQSxhzlvswvKdSrzQ6XEgLoVBCtw8FJaXU6ahVnxFkRY4gidcHTbrfDNPhFLzQ7P0jECXbxrEvfUfFA6qeu7s+KTdOsg1amIhqoNyYHUz+AggDL5Kz/njoMiFI5/dvr8oPwbMgZXV60sj9lkwuykMjIVkK20YFMWXpek+6oSRW+Jg0+KCDaxf8CjEEhqNc3YY1ul9w0WMk4GGWP7i3kzT1WPu6XyON+FJFATG/xLbEn2ek/Rd9tdgSrG5xn5++rujOf34i3NTORhFsLhxx0vh3BY0fEYVY6pPp7oLIhQ0cGBqgNslcDOj9vbXgFR1GjuQJGVBsaD5DNC4q13olrRbC+7cHLP+UZ4+F5Bhle2mLc2t/zLPAC7zyuiNWeZrJCFC9AdgCTsCr5bLbB6u1xeh4+B01DYTWRtqF2XU1BGnvYyasiFAqsPLbqR96UTCS/TpFxS0BRIqDoE4YdLXUMAtxctr9M2qcaEJj2DIeih18KCIL1ZPhFBKDnBG7Z87enhnnBoBgepd8wIPAV23g2ezMATgJEr/C9AFR5/+mTpj4FqJTgYsfyOkPMX4qT+enloDSU5Sa1Gf94EyWPYn0oiwGp3FRM6pPo98R7tSbkzthgUwuG7z6xGcA1IS35j440sS9QQRb5up3RwKRgO8LJyKTF8QXcq/SBzguX78tRTWYyiOMf6buGfIZnT4CM3QNdDXGZ4+bq+d4NJ+nHJDN7s9z5ej4f0AuiCjtddn1Py7W4MzBUGnzwuww7/OU4r/nmhC+0VDf/Eb0CPNa/6A/3VYxvvHlm3ib/KhyR39ZmyKoPfapGcnJZCdQhckk+wLedfPuodIahhSRzrvevPNsWfniWKxMpLS1cg+AwS/r6KAVUL4N0JFUTK+1hYATy1eJRytEc1VcDslGvOqbacj+sFDvLAz/poHv2kPiFeZ2q4NebGqdx5RyFXcFvqkB5rEQSv+YBNxxCcWK9auBx2KCGXlZFR27pc+6m/Olr2dRqTn8/pzEikxz5XVcHGM64nR67xh/Pzswij4gi83GENFqMa6JxSzRCu+TKOxuE0zrXEB7mqSw9FYSy2Et+82URViwwxknB8aOBZo2BRM4O+LHokKiG8VeCTiGGjw4OIfhRMbkgnLG11WkHD+N2UMw8CDMflKNvNK1Ezjd05XpCpfyOr5iCjG5t2GZciscL/Zu5fn2qOctMEyMRFnz7mvdcstykzCPw1UuxqtLZmG7ostl52q2bLEIt3bzGRgQABYLAsrE3wiCuTZ14/kk0uKfvwcrPii7qTPA+6g56ezZf6uWNHlLGahXTQ/rqkHoGp7BWDRhdBVUj6vnmyyPENHeWeMUlgV6HU93hFW5H1Iv9FyRYjGDhR3sNipEbM8u59aT+5H0F3bNihFHtUcDUwJJmc3sgp3rgMHYstjroD6ES3HAtoZRBxkVQhcbWGy6svJvXtl67SYCMNC1fHmi2qbPajhmkDT2zKnRayCUMjieH80Uncj4NBjQ89h1wHxz1o7q/qNrqcwgQHfDvWwY7nGvewIuY4z6D+VYBFSXfrj867D750WpeHlPBZOrTl87/E7MdNfIW5me+QF0s10SmsidkpmJamT/IAcNc5AghPBeFuMf0aUU7mo3akt/2jdsOkyc944lvmZo/FKXfxYPq7Ogv0CuC6WN50AWJlRQhXHF6lyThMzdVAgVvsMVNSPrHhcauwulL/ExBrougxlcI6N/ejgqd/6IYbNBZ3Ti0HGosXimvXGr2gCmanjihH62R3SpnhKwkwXu9R0vSTAq3s8nipLWvdV7gERKI/d4QHhLeDtfmpTxSecP1ZeZ53hD6v2LuHGHdPrQj30ZDHDRiEFJBbYSECzHMEyWYm82wPJrRhS3pMMsKtvfBB5XwZe6/1R+z02sywkirkcX1v8NYUydaHZoF/vj9AWmVJ2p5YI/Kn0NNYnhMAuwtPS3PryEklOUzcIhtKFpHbpu0KlRyV/LZEX8mirEcQCxNeAjJ19P7Q8Jc4e7O2N9C84va5EEI1KgEYItVMmWASil81P5EuUIBLdnaFis/d6J6RWzHDE0TWSx5By+IArPEfDHyFAO3xLu2cjOCRp5rpCvgL2Wf5v7/Fun6pnZErrfV28GdQZuKAyYNQhBWShk7HIGoG48EENNCx+2ZwW4oFnaVSF6YtjxsedHiFPrjWi5lDUp0aCe6TLWOGzqMHEL60OFuXqmKP/3QzA05ilso5zWaWw7NquE4Pue9G6HRjSuYI8UiO5yIHtcOhz7o+8DQBSr8SUQP+26RLztfEwjPdgl+beSwv/GjVT3HKj3NUHh2gqSEQXag1wsytCesoKgAZOwLkcP83wUcwvoLwome3R4YXXfGtmU4SYoWyLldYsONlzmO5WrHrJ6GF5bhzKDYeqeIhklBtblwDxEYZiQXScElaL+P0xvbbbCoKCjuHPnionZCEjMfM93Ca63MH8w+bzquy19zbMR+nIEcos621zcG6zCV6hoQ+rgByOBiT3qHZEIyK4KwQCTAkG4O7X92LFDtmoipyBMz7/ZCwttzrWd+XDc5OyWNM0AUqA29U5Blb2PwYYl2JcKfYN7FtQi2nLc8AeV4Q95mFTy3piTZumTNwb/FfoZqVEX8IcTnEWWbEr0EL1mzxHzwUmUxH2YwtEhWp/HwAZcmFSlukXGgR/8SUF3Y1lai2ptrJVOAfNYnALL4EwiTNHRKTZfXiwllWl71zpRnl1iatApkPZ7TUTGfCsmasRT5ormrTJzg2GNlZtWsj6CB3pLXYsY/ZNTW3FHWxAIq2hvkDAswxGbfyUdNb+snAYdkXcHPGAQV6xuk+cWLGX0vQqKuSnYkGH8EE4/dK2Crzu18pJueEB6mwXBklNVuiNf80w8B9EjyFKHMZRmxxqyRRfBSJVZuQxf1pCb13SWU/OkpQdDzApANFRQPWmJ2aeqR8AjOBNu+AJfF9X5hoOIMayXG7eT7PijpNmadFdkM7sBb3Kf2jTIuVDB8554i5g7ecI49fZ6SAweGIf1BZxUS4+CXilA0aGBSbUIlPMtRWvm0LM7WhS4Ggo/AEsWyuw4IKTV9TYFmZaT+PVzsRJ8hY5cu9k1PNh4g/KJujmBCBK+fDmEkRa2WFBsN64c3jlFG3z0cDHkH0BM/kFE8A3/MJ7z+hWpTD2PhWt+VlLfm/J7fM3OqTNKkfI9N1Zk8m19nrmo5lI8RSIe/M6KkIzHAj59jKvFuFDxwUKSZamu3t7lWcwRF9B6jkPp0egG1duaXhmO8xtd2RiAsCamMR+S/6XHS6PiMecjMVJnxjg6k/at4dNqK4/29ITfI2M7GCSivyeks1GixpHa/O3xsWRkISDmoAHj/LDXHVZYuCZ2I1qRecN5QnvE8hqZbZXBlsjT82Cb2IXaVr/grryx98k4bksALkcoOENLptr55gpFO5F5pvVAO6txHDIrTNlNkSWQzgI250VRHsmN3spT8zb6ZhtSisS6Lnt3jSi4KIYo9bAJ97jZIOV1GbEKJ+vwU7w9hf9JiKN7+KE0OowMTHBUjlYnL0Z5HshQLOvD7C1X5i2KRFxUMwakyiVnCrgOwtT5VLCNYI4ltBry/XzLR6Td33p5859PomVjG2suxN0nxiZ6oNVYaHcQ7nU6oMUjvbVLIFNN+FL36vMp+a9rgJd2nwTTlo17otSXtbfYMuvI4bzPW1KQ5y1nN1VO43jFgayOKUkJBA2TUYzYKh6qhahmYjFDj2U7A6D4JZygHl01zH8R0yG1um8WPbdIrutf4T6Mw2ui0n119XS8cEybHzPd3Ou+91e905kddgXslgmJ1pfJre8fDrwjY649zmrskACe4p1aqwkT95V1P+PUel4V3CktbakNUtGfRuXbvjwHF4ZbF2WIK4aZmx/yriwNt+hy6kWbTq0GqujmWeH5uTwMFKSpey8vPIy4CjRHaqYJiozHCV2UR1YWrVkTSAWXmIsQR1aD6Yca7EpzRZ1LnAn9d1MtqksfP6Pl/CCRPYKC7PTkOAOFr5ENFgA448KDQr4UA8IIzEOSXf2j8hje2XeU2ZPEVv9pKoFPc+wlHGFu4DzTwgk+CSMh7t0sZF03HMqWzu1OJ3IcIFHFfxZExaHEtg49PxBWee9rL2gr5uhlRZxaeBWxfE1RwGM9mfAAqiifyGnV0KPg8fO76aJR8Rl0Rqfezfiy1NPc3XbWmib3npuVBJsLkB0az5OW5OZ+NOp/kxS1ef6br5NaZaD2mpfnIFifVLC1kf6RVlXm1Wk7Tu/0y2nV5zCdXnYsM645DY94YFsH2GZcgmXCducnGOc71TtuHvLeVfONMCLa9m/CPB3PqV1NrMPt/75fcPfhs5iCUhdznFBUqZWg0Q96DGbLateZNESYSPj+rpsG2ZDSGWyR2TQ2rtGcgdpybe6kaC68iT+oQISz+2E//ZV/7LrPUOX8kzZfX9QBWRFxhPHsOiNcymf5mbGP+iUbZhhfDHhMtFTLYB8r5NbxP4GpKU4RaAWY4U3OfLsxtWtbFplaemk1F40ZAgB0ANDNAu/Dq+cpgmX4/zTWw1JqM3kLwtJLrXXMHrv9FcTrkmVxHFHEGZhQT/FsYP2lIqbsaVRgwMlVFhM7KGAvdF9PFNb/kSyr3psxmdvms4uylU/Dw2EoFIWGQJD41hrpmaR5W+XANkXAt55CruqlhaJ3zNCVw9YA2S0++JwcgR34imRj+MCmiR4oOan/7/eSsRq79h/P5yLCxFs3WAKnAi08Vet/f9/of+a0lKut5YF5N3vhj6VCIgSe9CJ/5uF09AzD2I2z4B/d9Uu4dTn2cbMz9hAvLqSydwrCJwrz7OQHb6nPt/y9SB14UHAB3MbvIYP+UflZCali5Nx/bPDMJ6AahmHVwHumJSyGkYLMJJM43lR3LuI0qvfhMA0pj4EpB3wlQz8JrKC9keHgFILInh7qGHJ08V2XEo0bp3n5RtivMfJCIMm1fvLAESZ17un30Dw4YRjGHK2BBrOqljQTGteVWenuVX0xoN2UCf7H6qcpsosykoJZ/WSCOxYnTi/aZUrrfUijbLtxgMrKilZSJGWkd5Xbw4QztyEoK0sglj8GszHDEY4IZ04nroYyXbZWzt3j1Bft66zMAUswLlGwQZnowSdFu3sZIPDH2220m+XK+e1ty/2cJ16PMZ4DlTf8NTk1QjVcvMtCdWWc3OqyinbD+XIhcAj11/AOn7XcRhwz3tpGbcWnrq8nB3BSTx1b/YM8DyS9PbRo5KCaUccGJCLLy8qAac+5neaCT+0Ti6+1suDOQqbOeLMiLgQpAAdnEL4JsprF3xALHaNqwx010KG0To2qwpEegaFD0nrWa3MFkq2gBqcIcVVd9JW8ZN0rbbSg6aWlVwXL8EU9y7+N0cvRVgKRddyanD+sNvkZ2deoUOYBjAkyqNeoRtih46NhT6Kr0QSNa0E4Ue1xyQT7ALoIyWe/E81YXqgOUqX3I2gUwAKO9MLXut3pKgJvl3slhcvXY5XhTw+RH5oy1mBx09IDOnahlVxwmc6+0K0XRiBzSKhIVw10cBNeJh8jgF8cEmt/DiW4+Oq/AzRhV+gMS4bVEMUTbg919eQADuu1uelQ/g88UKV/Bv25jl5vJVhzg/d9wJ5oBOVd44V/3I3gyYkV6lZWqso+qMBxqT/QLcVu6TZ9XIOyrwn5w0wQ7ldxC/vwdsDXbZs0X/f/Q0ZEDuMlcwWSiT2SdOL9pU05V0u+ta6shvJk28K58fSdhbbC4wCfk3WieJagtn0BKEGjPx5MACBgHegnfu+V0GVbFe0UyoXIwCqZZfZTW+G1G3+ijB6ToZKEV1oE1dPz+h87250nCFaD1omCQbGtJ+0VAtorOEc+GW8NPxTItZilbI8LQKdAPVPpwQTDZkqLKuoYf24AJ3smNHAItWjSMH9MmmJFl4hUGw6Y5/8GQHNFHePY0JV7IHMrCQzd/JMUHzrXVr4nVBTOWGNMFWL2N1Kc2cg/9rD12PyOmVFx8xPgQR1IeDCZtRmQEvkxeNmJu/dHyrEed/9kxOCLCtEuyiB4a+r4N75uZ2bE0kIMTftpLBi5076NEJCNI1+PAZOmW9K2KTlaLLJABAN03VIWoJyFF+/6J+2jUrc6j/vVnYnWmicJUTa6xBhPMEPTqJjDa3bU0TYTAAtzrAX31J3EEw2XFoBNMiccbWLRgBD/tkZCH6HXmZms8phvqR47LjDG8O8nfSErahDK17sny34D6rj0H5IwEwaaOp8D5BKxDxAYeect9nj6lQnlt0lPXRwyeNqED5YUgP9u1chmDp62wU2jUkKKnG11Cxme++VikTF+IpdoW8DuUPxwT0fYkjMOWER7UfG3OQUmI5WjfLM2rTmkIPXwcxbkSpd1bGVdRFwFSV2GJXJpbHFJGqUI20xWtb3UE9fDXUlAsUG3BATgH8/Bquesv50MaRgJp2vbxMnL3zpXoxFim3XYOIFpRidIMM1afdxuL3u36LpX/Mn8U2a0wsg9GgNOYAwczcunwJtvUqDYW4yIJjR0g8jWrSMrWEfCxm6iKBMAKZWUmDilXQKp+Th+nzpvcIkDotJKe9aVms3l7+qtqfgfH8si5GAB0ay0jYPv7OMuX7wUgj/eNzOOvwM6uoCAMzPKko31lyQhCR+HMlZj8GT0cXQNXVcPJKaxPcZPG7bqrOjen+gy5j5+FGz6LeRwNMsrbkAoOwOumPRnYWVdvP77hSx2+VEcyt0xdIhGbPtUdeeMSYuiMJxT0IuKEUc29I/THFH7vfrI3gJdCAqNIhHSdLwpGdJv92xNyk6wqnyanPWyO9+c+B6zlm1TxizG9hWPNf8KgfKLfYHiUKwpQRhYeA8P2OgL/kXQWkrRsvHc7I3zlYlKSVD7IUENljqjmAIuqhPliyIfKY6bd+ZGRt+BnWWHAYvR6UdaoM9Cs+YhNq8zxSVweszSnytGew3AwxoGPhoI1zCg0CLbtlFzxl0mBpipaFCzYbmUvPAO3/BPLfq/kgqoe+bGO8dbcEoVvXMNmYG3E/9/jDCXJk9cPEvKhXpLe7NpAmj4E9Zgn8Dnhj08eNHCnfPASlDJvuCUMn3Ds2p+lJ1/JCVtKU9DGI+Y7NlOnTl1mG+OgvquV+xggfEo4r5m8qCmxm4KDzVJrw/jPn5wGbRyj9dCVHfjy+sbsR8KS06VQcM3DiuvxqOnck/64F2xfjddDLEmRlqXQ5mRVX0UD7LX68S4CbqpDqiuo08R4TtFm3NJ24SJYVHyUmV35QS7Or/F8CnAdBJR6qJzOCZZG41QCn1NJSZBHH/bGc8VSpqYqOu9fLJKelML8Hp3QxeMyE9IukRyQksBSk0PR2q4jAQ1MJiC2VfR/ILq352zf3Xw6lgX3j7r470DdiQr8XqR0qpUFBp6KnI7W4BwJUy92E6ETTZfD/lXARoUAwBuGuLsFSjyaLMiRLLRYxh5XtmMgtjNdOXedrjXHpLG4jwno085vhLhmEsZhtE7pEWRVFAuwMkp9L1KvM46BEvVhGKszeX1IGu1p26h9tdhV1+vlCVB6S6kooJ/tcSEpJ/Dz42x9V6mqKShlMakBc+QbJI9Qi2d/ZK1rgklrPLu+MVR+5asOsL6yXRV3yf0AwclXie5mIE+1AdmYilU9bAsvqvORxMiQ4rkX4spWPS9zct1lvxoqrHQbPcmsOiYq5ZaGG505nNRMGAvW/5bTdVZe3Hr9dIMAaicYB2XLmIHbrtwB/wsUptzDpwQc+WS8Pti5966qZxTwAOwAgH4cF3ni9BZR3sUZzsPExJ+/8MsK/XcrQlXiH+DlgbtwDAnNMdP/RKYh5U5Ix+2v2EKJRih0Q5iBTrA9fxenewjUx+CE3fGWA4NOZUtUnWZq1gh7EoNt9rAxzd8A6Alr3/wQkvhDBI7In0fDZS9qfYx8lD9fh2rnk0+Wl4yk1/Urj3RX4hg8UhSwnmh9UrLDKUaN7t6XXd1bqF9uiDYdqxZjTn+zQiORp1E/cB8u+D5f6yCl5hsHZE93WAHNYq0XLYNnTUKMtiUwajEe9a+0uAfoQ6Gu4Dlxu8w8p1YkSMnQ5OZ5AKdyWF3kj/GGXg7Qq8Lt2n3+GDbj4OwRi/RVlsTUA0EShzDOQaFhVkMo1gjJqE5R0cwUdOyvZ1eec/eQ1gzQF460ENqjjMbTYnWph9mv+/eT28OdBdh/NjTciIo9GjInuh5iMuAiDXZfJoEReuREwl3dzRGT6ljsoqEOmEoichtRgBDKHYnTDTR/5fZ2rKme8FdHUVYRWpraiGQ8vO6SvUF/aDPAYx7VPmn++d7KGxWwVyQbGdrt9wUZ2fBvcZaLqqY2+akA8c/ZaUNQqRprcOwXhMe7IdFyt/vSUADxBMiTsrVViMZ4PiM/Rz3iMbkD5oXp7b4QkWRAJv+ZQ55VpVDLO2c/stWFUu6BrOjhTvgXyvmwLAiDjZ6UorksjQbcTfx6ZvNNvjIddiO1zglSmQWY1f1wwTs+/PIKERd7hlB10hAZGM+SEalL8p7wbw0TrtJsazhuAGe8WT2Ug6I8a0O69YyFNZ6wV/+gOgxu9RS2LRfgPrgmZvA8Y/VI8CWG6oEzp/lRjey4xbkNqv8FaGNjw9Bf777cK8nDIdclpH/eGB94HhxNe3//CSHDlrBwWARKfTLVfE24O6gwIqmrsq8ZTp7vxA9H3GhK45OeNhrcERSJwH+BFvL+rYSyGdtyBeWNHuhoLnwOctHdOt5dHEicl7iOy8iGBbnGklno2TZ4ad6rNQHkP4R0oi3aXe32FtAdozA5iaWB43LHvYSImGmjH0C5ta5HDqYrKkCboRbX8U4qA5NabcMtFiU6CNcnmdtGoX62yGMIg+YTdM6M3Op/q76NxQqWPQvRSi8LbZhyXoiQmCbRhtRbu6LKhy+ngMzmjZsKqPx9H0XnP9hX93g8JdVBy/KrEJU4i/wRHNUU/RvFdkLYecF/5a7B0/Jk+9TOEbU66qxHQzDhiENLJElilHQUlmQ42Z9zph6wdsyp2L9V9Vv9A+O7Nbc34qkhNMSO1x0YVRMyyfusAYqBsQ+eHC7F0NfXoRC/cEzf0zQi0eCeOuJ/VWz14Z281Gk8a79UFUhFZqo/wGqN9oxSfRNR0/5TF22nyP9JyjFh9SD59g4G+meAMgzRX52XdT/PGRL6Cc1uENLS+AydP6LDmqq+Htlr+vUgvFE2gJvEpQGd1C98OHOv5scykhi5wceGOBkezT3+7C7tdQgvny2TFSVu5367S+FBrFCGZuY61U9LXv2IdnNokozrZtRpdY1lkKe/RsOh3tzht13MVNpzgUzABwWm+8Q4KXooMk4pU2w5G8z15eUjbg0/+QiO/ACk0bcDt+UT3I7SPqext82jgnjI40p73gXWP/EjSJYopyeth/bApP1GLoDQ7taJ8WWeyJ5fgnuc499O9DbVTcgYw5t/u4bl1czZnIjndnxmfxcCRKO9FOq2v5hbXYn9myg0gE+fVk7TBTwkIK3uyIfhySz1fxAh31DPwOv8VoXk0WFOH/5Uy+5Sa5ZwVL0OyIeJZTh+0w3F6CSryoSE71AWPYDeCIi25/O2MeUY/9xmOoE2J0RrmiScepHEk2rYYY7Cviv4cgz1kgU+h2H9zW+Q1CvpC6TeqJfZn7y9fwEkh1QfwCP5mWWdkUWgOzzNspdG0VVvLpWTfFfYRC0c5cWpVYnQOHB2uobfSsa7pleZ9OK5sOmoXzB5XcGLJ33Lbsx8PFvHkpfM+2Kc8XDfuDywThJ9oEtK23q3HfagZSMu61MHcVgl9T6//pvlib/W5+5so4VArgT+QoBfKxucJgmzx1dCLE33QmYI9UXY2+4NIUNRKXtsGNylqx1EdTCeFuJEBZjLn8YOnH+C+kbCbxNStsxOQQx5NyRF0ERoJ95YMBdjHqxdfoS5uvY9UAFedDvzqDjZq/7y2Fduv44ra0ko5QIRCv5AXDx44JUPkNPD3a35iZPTncP21mUQVraZqqfyYhVdtDf8QbPqG7ppYqht5Pm4UFYjhUOm5ZEUaUuktWzHbUq72CuVgQKIlivby/J5vAjDZ3gOYkZ0kolVwIa6wWzyHaGPlkqeaMvCadASy8Prt0ZAvlc1kXgf82a4um99yvbo9YTtMpSrQCTsDMc5sP8B9h8kwo8x3rtRhdIBZlacUhzuzrH/sCzQD9RGwYR6AgmYErw8opaULgCYeWYtlgb6iRE1BBYvBwZaQIylp5JZSBE4ILlPxob6mMQFTN2pCm3KTkYPKkvuOuqbSAnOazZhX27q5moEtgEPiymqmkeFUXnJscITv3+07j3SUGywboheoGj4QD0FzVIlfvm1uKJarFz8szJvfJwEEvYVTt59546XSZzbkc05I8RhwtrjAU/27LUrqx4kJACBs56SeuQHVBvSOa6LT4IKCOAsDmalIFGURCFK8fPO+ILNltKz6aaKBITIyzicFP2138U2c+BxYvXpBZsBYZqV8rdImTnw+FBneKB4R2cDGZyFrIRlFR+Pv6ADv3Bim0kIKR1DC0StqBhdpW3Vr+HVSbCmG0bGE/rqbJL2wEAQQrrBVr4lvAiO8D725GeLyPAEKgJK8jMMO+EA4WK3/g0QuqFVzUrEu1r0QeRLvBOxl2xO71u8Yn+PeqtVP4MQf8Wgui9RA+gr6BAkcAuJgqv9LfdByiWkaUbuNQoCASz2Wwhteg5HJCk9hESbAlIfcowFacRIh9+pfwtH4W6dqCrfxGKDyFInI2SQGnMz7AsAMzk5R/WmmiLD7Mie7qFLFw0aldUulgrJCzfMVwYCMRZJHjQS8tTWcLVQgnzqyVq6dHt1x+Gc83To67mZBTS6c4RaTHji3vNVElmMqFCFbN0JZddCmPyF795eDcjl8j/3QIwDoQiSnyJY+RdNs6zo2+KVXVHiLPL9z9/lFqGoBuVbVwzib82MCN7hCOvcCOdCvN96sFofdSlDs+kOUMvgiOziy32fgl4ACClGiZaN3dwKeWGA4BQm2mtk0xrzItG8N6zCV8oDteFk6yql6l8I3nHh3wDxfMEc9ATTQcvnKWekDFRTnb4eh9vFQ2HxkSU82uKbCXWAoMsejKbrgNe7nXmsTfTV1yG4PVEmHeqhJqdV9gSTW+95JUbIRAfVuuIsHDPWZyR2CqD0UbeRhWLGpplahRMmlKCqBUZUTnD0UidYv+d69x/hlnsfNpQ1DORB3y6gcIvvAokG2kvd9/w6e8I1nD/dXBKVo2eEqovFYoKiRM2abBTgRl0yYAGJMzMVeG7Xry74rixEhjv2m9T3nNufUFXx18d10Cc3lfKOqg+9x063KDn/iGg+McCVB98wHQPCnV8mnJD7bq8GYKQFSFYx3hNH8sh1VzN2V8lIlCpuf8IouNJqWb51BuSQwCZBZgsTfhe8+bctG2t9Ym+xf4VG0fn0JuXKKc1UT84pf3JxaaE6Cr0lLXdJnH8TOMBv71ruJGwmK38fpmdHcOzHKzkCyUsYTDdAP7au5xiYqWCq77pUFGw6Mbu5QG0jPIzRIcDSzNdZ25fWaHCQRvS2w9QlApPhG3qbWrjoLiuOBybb/aJwxT6w886X+LlLbjedF26TxtQhDcw1oaFkpu3X4mxC7tS1v6NXHjlt3QIt8erEgYBvSjKIOEOaaRCf1LmUTPLmtDNGwk8cR3iydECilteVQ6R33XgS5RfRSSawHilZUILWP4hqBSBD9Tpf0c3SqFNbnKuPuXPF6+XSKFIUWRfSLdS8wlbwIwtsiOfq8nkN7OLP+CV09bfyUQEGKCyPRZ4whe4BA00sh0LaxJwucrkJg/pSv4YWVR5ONpjQYkLzb/1OOSJ5JiIi0LqSwKQ5h6V2R1BfsOPdmMZXq2uDpzvwUaEp4LxFA1wx/82bV+lJlMmFC1DiWK28CKQqbp4mlqZrwce++ABsx91SnfXUvbkAa3oaFS9T8oCsx/HqhkcZpSqi3LL+U4H1nNvImzsgmF1u4wY79SssPrDTBzB6JKZPt64Jp1y6A50wr4vwZeZmx3MGCNBkaCg+6GA51B53KJizsHDsRpxf7U88mFTFEHjE/3B1A5nlVyxEyFddeFzaagIzbavoCKAwUohil2FCCJLcAOOXeEjpq4JQo01kXq2aYb7mgPwXiEvqhXlG9EPY97stROz+92Buo5nAvYQnBbRHzvQoQ/84R49cOlUNIYPOmLX4uVlEc9Y3rIbxeljj21DGN+C5/PhV7ZvWnNDMEYcddgxJrP7j+O8XFHePX03YFd5Du+RHvfN2Xo095OqMnBkJsJHvXdJ4aR5vYxwO3S1z4JZxatLQ3QrvmOb3ypmL6YXrvOJCcJeMAoIy4qSBPY/yT2TXuiIfb2mHdA7Ko1AIM/hb3qOjp/9udHu0Sf/17NdjGOr4p+qRl0B2Yhh/+rJ547L8uiIxUOoQthbhw2MgsqRBT3iHBMbTbDlCE3J1CBOzzDbgfvlxGwONSbWAgfc1GadhVnzDdLGNTrJIrI0ch1hek2SpTodHWcrC5iGNDDfraRgjRrxmrusFQjwOP91fD92Uapo7BR+GADZwJurEu5tWFBD9r04u4kUt2nHGI1XMuR/BxUeTJcHcQ3iMQPQrSckE+AhuEdg5zDhdZtz2wiQR+nsGc8CteC5tyBowUcvMk7DALSCTxSAM9yD0d+dwpWQlc2aOgt5hPkeOSlQZeP9yRRHzv6TuiCSS6kKVOx4CSprD1jdoDOTxkTwumPVh+bcdE6FhBLbkwtoCqlSWG2BYleEcBcHW1AxiqN7kTyLUoPvdSK2TgdmLG7VXhwtF5ggRXosJb/sbQ2YYvPog/X2MEe4cdtCreowNnlGd/5H4rhK6YvVRIAuvQg4NnrzG0ICQSupbTfQKVvA2xUm5gavMPHnzvZjr0hUayPT9CTkjPHBnJaSgXe8shjHJggrkcY0Tixt8246R1CX5CZbepo5F0TCmOxgPdWuJLR6BVq+GAME9DATf+kMRXwTIig1774PdnaaQ4C/uHiMBLJZhN2TXPfyVn0MfrWLGrmlrgsL9IP238Ls8iFtDZlbkQ8XTQ27YfsrDPw4/ig546/iCNlfYqWM6QsEkECA+4xsltzRlISGGlqOEJvGZKFUI+adgPetcuBNddeYBQ+bfHrFBaUy5q0f5KqL0KfJ5UrV127cd2cATucK7QOkTG742Ps1XnR40r0FypTKo9mwlGZy9Xqiju20nGmK/GmzoAk3U6SMEh9btj2+xN0+Sf1FmB64+RB7YCLKdj5/yMNnQqMw+fgu/OCV306ihmFkpG5aY7Yl3RCMxemm5r1M2twxjtmUPWwpiK+2TwG1dnLM8tDA/HiZCpe2o8H/fp15Os/oBG6gSKkOc8gJayvnDJkunONa6JarKMZ4in5p9mnz5wLQy2iantQm1kMg6RZkPuHXvFXwWx0sVEaEcaGIkLvVsIeAPlN/Bb2fS/cVpJhAmYz/8gika8d07qzfJIM/cS77N9mE/41BrcfuEMYHrDnCvGLg0YpdYSVVPnRqI9CQUDWtSSF7fPcJ+JxSoV1LIz2S2TG2vtjR8U+e3CnKKQVzTSIwGQliKKLmd4mo3k3mMMU4sRa2ALwzTo/jjHE/dZVn6ZdeY7ehFfc2ecBiReEV/jeDho3/PXzOIKrpKmupiagCrCoQ0L3mb3yx/iT2EqPv9l3HvCPnjQSxiu0qVm20j85VpQmPGdFXIgWgl12CFyrQx4aJetrSb10LBkIJ9zwHUS553cv7QYZcOUqdzJcqsIOzBfWksu+M4vyn+NH1jv/GJOYSGjTgUH0QRuU/nCNxMUoMuHVonafIdezGIY24gWYjUh+AyNo+H66U/WvC6+S0M12+PYRgdbVcezUeliPfvz70EuntxMaiviBoM4htCWU5NErqQDpbTwjg1zoY0ifjmHTCGHcl6qtU/tDXY52euPy9/Rxq5ally6EfkaH3NVOPE0pVLFJxQ51gAphs6WlZEUEp/oeajvbzJHGNeuU/4mbRpLavwDWbvKomVIgjJI9IDswfYNtUcE7upBmDGZ2mcI6vx8fo1RYcvwyjGbfz58/swqcwz95yZoGGQ58nfJjQNnCXM+JXKU2mZn3B/4lVCxVfVNtP62AH9k3bl0rrgPlbk2/Dudjq9notEKxFrwGVFmV+2TqVm0XnrCs4AimRI39/aQ+JhImYeKLQGpg48JqBV9GMuIDE5G0HARNo+EDPnnU2X5z2Q7e9porhIRCZhss0TaYw+gcVydaLYbqM7V6n4r+32sUxDD5/VKp9r4eObz4ILuyrqlOXnXRuDIwlOHY75YUyE2AlDMRMQWd89qjAo5oYdd4VuaaN/plXlDir0ci41h/nd5ZzKt1efAZjHc2rEU31xDj1Kvxb36LTJl0VdSS9zYNM8HLGNByTp2IBt0okmaBaDdpnM+TeCtBU2Qy6RIXcl5D32WuR7h2KKjfx8+3ArmbwcXCW5wt7DJdwt7xjZVmDfG/Zwxp3IpSxFFTyFs/gI5RdWPr/WdplDc6vd4ctLdyUhVV8RVwzXvx91MP9A9YB93QR4yjOfc1udGHMgrCtytl1DcMhRhX2AYGuTwssEOUJavMV1w+NcgSawMd+RSdcyE70HgTz27JLu+hvigHJXoi/KfX7IsxkBv3YTrkWVAQ0n6wbA/EUOWF1gslwnqZiN2aZvye7INhyglXWatZHRPpXEy7br1teJ/F3AI4N0INYobRR8GPLm5Mcjh5PRdpmBP7/cQTxMaVIeMZ3cKQFW/Vwt+5Irr4/NNCbLS3GvuJyAIslSZjXgOVBfGJt+LN6kIYowfc7a5Alok6L09e3afZ7q8sPr8QW59QLdLuZwhI1VXIKAljAnZn3TnET1RlzS18S3hBXJ1wf8XQLUwola3F2nnPxdmO7eZ5zkNcESG2LymMZUnEdaquetALk7XaLOeI4uoqtu66ecd/gMdCFdwlDZyVVRXvEbQn46yimunf7QM5/FET9uo/Gt9wHl1PffmS2RE3JAv/MnB3GDQx8E+NJvcbfnQ4MM1Fw13GfEFZsGjeWZvsfWn7CrcSK+OLRtgePV368iALLyrgGyIeC8/vf8lhp9+7IMvXbJ1Z3+69GNHowLwJGVJlbWgYmSwQ9Eooo72ZtwO6lwMr1f+Lwo4BUs4eAzcnjk/mspQKR8uzaZRswQVHZ2mKsKh7B8qnKJYjJpmqUoFHqfIIm/zr6obqLQUvrSHUst59tHXLbu0TZ8jURNyRyNUUNUUgpF0F4rIkC2vYvoNWbkujvk5eh51WE45vBbHVcRv4PymSnSOKghU4rfZjQ4tWSsJTiCQ9e8UZ0snJfW/ZZqRhbeDbMDkp9kocMjrdDKJTWSKQHLv6U5bLf09Rj6PxkXeyAPVAzosSvl941HEKzo26uk54vkeTrAQpWmOxrrNFN1AuHtzY15ZJbaW6OHDzGIhVTRoJRCTUKtHtq8+vyUpZxROSi7aa9RxjtbGprYw8IMkCjugT9QyPWAjiDHI4oFIkCxvjt8mh9bHYLiE8FJFt/0rtjTsvepwVLUuUwc0Q5EuzXkvVtX+A1ahC3y5M3xglPjoMr0du5GEjxfVoyMbXv28P6KEN6//b1cs75leuutM4KDcO1ZxcnmOSxjA7PSwaffvF4jOyZ3d89jngkaJ4cvcpbTmuLUEnfQeVFX4x6pYowN1l1AmQJfS0mkE+uaL0Ud0La76xqGz6nXeQxu1dErSXl9RPvnfqc8WNmsGtcrT7Hc6SEzMF303KlXwxxjCJsiZT7OaiMu3y5nlRET9kLzyks8u+eQgj8tEN9IxssKySmQVrhsZ6oKBLvmVUhZaC67bQQb5n+iYIUHsLA47PtXw83C2roBU1PXhNRp258KFPjDFkIJwk79xLVL+E7KjhelKV6RF+MAaujiQTmUtcZJyJUxmx89e84s6QYWcrz4bXzuc6EFuXkxrfzJbLtwKA9Bq6jLe+wGsScpr1exPMolXDkmWH7pgOXMmrtgNqluSUEffGtbgy1Oy9i+Fya/9k+PwTZSVfKb0CoWxgcMGrfhOpzhqLptCyAqGzle5Ro67Lm9cr2jjeGNkhr3ltXT3QOKiNghhlqxHmfIIi8HDfbYtLkTKJbwwQ+TSxe4UndkNmSQrHmW15DYPyWGWmDmtVAHzvA4ovLhCfD1aoHgMJ8hhHIVLszRjdz1wSXfhSCEaalUAAQRdpyoH+aEBjHC1F0SF1BAWxjzNZIwegX1B8GYZl7FEInh2BMpx2whZsjIITMFiXuDbQr3iI1+Co2FwwGV4Hx10eLtLlHCfwkm2hNbb7sKtrfOc7m+I1mErkI5aI6VQVNCmelefvLartbgHROpII4LBEQIbFE5pdd62GlGR3j8rPxzJNCb7HOpeC5D4dpFjxw5MN/Hjn7fLsJE/TT6YJekYU2wBbuH/3KHLennKruUOnLF3IOOHj2cIU+NFNVyVkatkZ94c+0YR4V/o9djPWcYZ/iKxw8ODh+RORzQpNKHYkRMsdhdjSqHMplvjGEUlDHOlIFj3ZlBz2SAzj1265YX7OKMm5J5n6lBDFJb0M7vRNczAyJGB+XLTc4zC8oktr+K2tkutRTgM2infUbOJHx265ggDD5IBAUdMzvVu/siZOqXwoWexL+cTorLpkcB6iMBhdVcgxVEUO54r+sx/SJYbHQN2aUgnSUmjIvqeA0ZDLiva/7VViQlvKWOgqCczVF9SwFZQhbrkhBtR07o7O70KWOsVnO+azCR/XN274dciVLH5taEOuKmXJxX7Mv3EGLfE/qO1y0DUsFqIlzjchhylP3Na+Fj2zlVf4cUC5/Rn0fzkIFG8AXGwqM3w2PT1v55i7PtY5rmMzsEmsoBGIlHlUOIqeDMZ7f+vpOazk9MLooxKxooznIqaxcnv3cXdnTXTgACp8RHIoSwoja/MDqcnGnZDxNc48NKu3YaidmDAylvgwHCJYm3eiiaTNC3E/DEmsOyNrBVyM+dT5y6W/x1A/X97WoaqD2i0x4VXQeAubuMB2iduIxMwaDk1qOBY768ob6w9qXMdRr5nM7JQWmG5juadwM/O0ce7o0eCP2JozDSLuQKKHJAnmX9Rx6+O6DTGUAHtJb8h2FfOPf2V0uJWpPmasnySLPlTzsczCO8TI0e5P01AJKXiL9hHoNIJT951vGgJAq6uJe4DgSzdqP/e4RP7tRw1Gndbr23XZhP+gFG74dwHrJe/aoA6tC1TLlwU6KjU4OEdkem+M21dUCICjoYRVcr9bbIyNqx0wUF6zWtogPc7wQt7v363A7HpqkvRM1qJIoE9FDJgORRMa6NrJxBvdequ4Z9tkjg8aIDSVzqPhvBZOHippE60KVbJsqZcr9m1DUiTqTJ8ONGaJD3f3jrK8qRlX4YH331o3mUaFTWlU0h+Yae1/uQZT9eQQSvBJHxFEj1synSKWw2SuwVjkw++p8bxU2Z89OoTpK6zymybPUcDoW2dyIDAWO6yNQuPgPeXcQf+bw5tLs7AZ+KWTjOeQK7wtfkwTSyJuy9WnU+XT2eZPRehLjMiXUAAwOPt6EnkNnIsniM2t0BvnX6LSLSapK7xEjbH1vNpyIQeymLcwapm8nZ+eqDRmwh8O35+okwK6dp7KNayQbCg6PcsxfanY86V4DF9iU7aNsjeB2gcDl2b47C90yTywt8D0MbZS0IZ4JkpiGBNdQzwn+l6S+ajoeULU6cRp7Un3odN6CkRrSxpSbu2o/hW701BqoWIp/FRirFGVZYkaC0tf37QYmajjIgFw3/HkzYcwQcfg9Uz8/yVgkEDrZCwHi0ujgyMqjsTKC5E8e1aNV/TSjYu974iQbNfamYJN/mhG7USChZqQRqk7dY0hO1E9/MmMxKGUgaQZbiyBLJUyEQpsoDB0XnUyjWOON1eQuLYXvMSG6851rvuYbiwXbmsxSH7+s4BRZCKiVRhSy+JrTD5z/T6a+oHYtx5ShP2GMZ+GkZvNAKXZ/8j4/toJV2oTUybnUdqUyvwO1ARBJtfku/JPLPiUqy12r0YyFa1NkW90kYkfj52I30HLA2YVJsP9FVYukxzpWjFtW+qe/V2+SuA9MSb/tUKi2I6nNADB5PD0i2FLf/E1ZuJQeZ1zRseL667NhX5Sbx6yL6f1Mi+vGJgESB0ZzidLNegMXlc1HXOJUka79JbYYxxve7Quc/6WgKhdCYJDk5pA33tuMmfCrSVr+XyfjWmiYCbVTxJoytkJEvOQahxBV7kQ0IAQQ8tXzzjqaLqfBp95p/THfqUxITYD4Rq8ZxNNd6T0AvgjVkBMNwRUM5T9DbtusU2b4OK2dQDNYSJcNlV0B7rEnwz93AatgezrV+SNVlMcm+RB/VSva8F+57CNqzLp2ILgnQNbR4hvDT6PBF5bQSI9LmHH3ldCjqdW7F/EthO3blIPtlKr8KAUiVZAmK7qJSkCVkEcb7mJ1mrXIMP6BaGNjUz5eLLZeAFaK3jO1qLmgRQIu+ty0c7h26THRHfYSbhvjr+wSQcKbeTcbVEwzpzTqCS4MuHNlLNd90Yh5oy/BHLgzbBZbFchl0LsQ/Iv07jcZGj4NleC5sXmuLH8QmUtjZ4iGKPGmNtuN4SN4AaoO08ji2NRrfybhn6txMnXSOqz/e5uRm8mX6kfe0eu07ABi/5DM+ugT3AnA04M0l0UQFIv+GZ/wz1ZjU5F/52y9Xu33cvEOjHIKyZ0KxWhWiDDVFTbjwLTv7ZSDptUG8pjiAwK4FZndojCTBhsk80fMLHo9hdYsg7+/UopwCF9q7p1yub3cxFSxkP1apouEuwzjflMnaJAZNnpxSzXK/CnSiXf9EpEgtxHq+fbXmDP76zIuYH0NbzQ1xe2tFhLd4hdwng47wNgfNpsBKRA1efZWJx/7ZyL2iaS+Fe71kocSOAeiWYw7ewSdb5HxtoxTjAO1sCy7FHMx02/pd/us6Ym9JyMch5xDFQG0phe4iwNVnfjWB+CkibSquGIiw2O1axzPtDOo57ocB3EkqR7qX7oBbjk3gGoruBV7gulI9iOj5zwCaEszZZqEyhUivQZPzaneIjUvzjgnRxDM/6yp5ZzF6hYuz9+psdaQR0z6A927DQ/qitGigAr1XB50D+DdMY1M1iGYJXS+VRTUaBKkjEeHgV4c8G7EeTpv2TBtaxTZWRRsJ/qWQyU/KLuyeg+7A4j0ydFev79aFtWuw1ClhYMKm+ivxiPhRBSYcO1bcd+aUMfjQ6CHSbM+fSrSR6XL2y1W8C5C49CR7vDI2M4UU5+YLSUOiFZ1T70koDSleuTkBHjMRPuVGKLMpZBhdFlJ3b7waMdet5++TliPBTg+VuqmLwNh7FbXU0gj+0lcUHFANrYyfrmW2YH7goAKWVHgxX90dqkJc4/QuGwT0gnbaFQAMPdugWinihUYb1GjHy16TmN60RHc4jx5djnrhg3xlmd51xGzgoPjos7r+SiztHboEJPDTPirVkTEgG/+dovCQFwoeAK5dNmF8P83Amsdbf1W8ZDjZIIeUvx8X6cmylxt/CmfpYb4bqaVVVZQjBCfWgmMIDLzyDS83oxagB7u6+oef87MB7u2xqy+gj/cC0a3Qt7zx1Hq2fMxX0eeBb3ksSY+WdYVX4oYjyWYgBMY/hKbPakkpFHd4GN6mnJD9/uNNN/0/WGz2gELoeOZN2AAHyihUQO/muX8XQxdiZcEmMRJ2K3hBv+EIKfybZAYloNBuO5VXq5LHCcEth4ZZrNbfv17wJ3j1rbvVrJwNKOJqCSQbxWCKPKXjqDElhMrHLIUfBF/dVB1YM0QNpKBaXYTJGvdhwydDCB6qSvKwfp6EHgHg0M1Yo6yrHLS3WWGeCnYo+z305qz1GqSQ27k49l56X70nbqGakPjWBMO7fuyaxc0hK1arAeDZNO7LBNsYaphWSz3zr8KHq1WdiajOQUNTiJu/nLfyoeGelbU3HNk0bN3euTLI/sjtFROWvZYX2DyY05kXPy8BtsrxsmBnXTbAgwYZv/m0zpEv8H+j5K3Rbw8rnB2iONl0eVXDt3hdufPrryPl92l6DEZ27pLyB8P6H2maryV1qICORcjONN/uLBP7NHiMnNpqZalx6gUv0nPmN2NNZ9oD5v9FSIYaXIHtmsXkitHrGefWM/BrK+NTPYO9LCeDFCOxihbP+YV6TjeMtBaS1x7BJQetR01MOlGcoZib6tSC+YaSB/sfTugv0PPMH9/AMkmyAm4nu4Wv3PRoxSf9z3DIj0e3LMz5HxwuiaA2200WqcNdEmU8U7XUclPql02Do9qt8/6KJWFAReo1yjPz/RxFI2DtpJrZ0d1m4gEAbcp4xOI8Enbav7bYMRIRNEAP7QrP3fIUW5r/0rkA9KSQ6nBKa/IX8HLgLn0wwpwvoQla80ahfKpZOejNc+lp0csy2uJFwVXru9/Lpx5EKAYL03KRZnJDQhcHYHdEISdFzEOPBlbn5ZhRZYK3la2i3yPJ7PzajHt7hl4vGlsiy5g4R0UFu4ZhvklILomLnoz0MeR9ofHxE75ZfWXfTwpFjM+v4IXB+IXH2kHNA+cbTW/SNx2XPhKsqo5KoNsX2kS0r/KJtQDIFAuVJjqGDVvVpMguJyWeFpMzEZPrlqTh3w7fJQLZLZnJ5YIKN+qKqxbBJeMlnsB5VF2RHeXKaBvWfQ9901gFqYxX5cxqNPfvt7HknQzM++kpyU8WGtxW7u5okTzvrZhcfwhzSPSkQu437gTikJg3sx6rnM6XEoIHgf9vZV6n5ooYmt+CMAAxvbWj2V02sFMpvH6ZI4SWAnTT1CGNPI9RewQwd6or0+Kv19mFwNoEOyqjLMNvCg4sPJVD/ikAmSSABN0jSJBNQkq4/fIyeGdvRs+c16J3sSNmR5BZR6pQKfYqJKBDwABDsFDbLLozwy917BhG6NBMkpjM1LXFn7KzkSHMxzcxZ5Xv3Kx6KB2y4pov4L92z0UKFPzzJcLr+imzGAI0ffvv+lI5iVxTPkEOBCWUpuf5NejtpjjKx4Zh/1ppbHPNZ8Tb+OJn5/RnyBxclKIhMeqDuer+su9UePSlLQBPISTD4giMyMQxEmzN8hnEbTENpuDQYwq5ED2p/BgzoMonCvd6yGlyKrZ6cazL98LKbm/GkBZLKpnl8fou13mSNzCX6jt+gmiN+jrnsmIv0Y35OkwhIBNIwP6WDOfNfd1VfejX1D13rTRIqBei0bNNUalPl0H25+3Y7onoprtWU/jUYyZMnOovjtU9CkJ8I0sDf215tB2f0YID3R4GmWY0GB1qdohbgWgcSNe53TKu3yhkBO+2/AcI+g9+BwwefRgilZbrvKxNbp8iIt841l52qbtqjvYCxf35iShTCC6SQZWmmoNXlTKEGlh2I7mBZBdS6fKyE1kLpi5p9cF2ruxCEQjqABCsso8C1wNipPkpfYgN/MqXGDkTRnWjGDKjf9R15X/lHNH1MoEBz7OK/3uqIWao+irUXWJ5UnuHp1KdnIOZ5Tb8iBAmO5x0UZbZxBm7xDHlCBFSKveMixvyAsttUGByu4XpafeXOYGZDfh82As/fHGmaw3NVSifEkmov2fsMn3stG/RsOyqV385SYRod1XnEI5q2QzBNgWdJ1c04+jPWRsdRr2qUxYwRQ4YfCYO2jn5gkQg72xIg4zAjLhlG5Z/H+10D9rZL8L3U2eUV5BTGvuKF2GL0qEkPzbk43JdSstOccL0cTdFjGKK/9p0pH/HXl3ACQC5H3Vo9B1UT+tRcSwMB0afnytW075nrrj72yw/zpUds63MdYqZ00TBDiLuDnZWlXl96GnNw6oaePrBbb7UGOMiX9966xEja6Li3n+YxDJSq6hm2KSJw8/t3oYET7DMUv3lhC4odygb8q24fw/5J1sbw4xYhHFz2CFqGbErNXe3egHLuj1GBrzNzHq+9ZFG2hsosLWMsGW9O/Lnp/LdaEPNtIxHxHudxswZbSKZ3zcozm4jojLlrf+ETHagw8ZTiFLtd8zLZ3QxIiJqrU1DZpx8uVSs0SnnMXVfQ/GmaQeL6LCZfA0HLmd0O3HG9DxVtIwC4jN6VtYLmh/UZ0Sn3KlwujeovwfXO2rUlV6m722D7TNWLDsqxWIB1i4oZynLu+JkTEiEAMzeu8ny+a4o7ZvbkDZ9k+K2lTczVISYHxaxMvWSPZ0y1hVXwWT9pniBeJ8KyXZMdAPkI9793Kk58YHOEQVxf94ySyi+QvZPEeElWpBcXvOnNV1H6KITujWBZpHWhvZArb0toX5q17osk8nNB0h06vl8ugKDPElTfAP/K/U2EoPMYiWzVBWa28eh2Sl0eQIwPGS73ZgVngIsjHYnYbIpulMrViGemhws/gojr92CmypGwuxu+lwyJ04Y/QtaFWYBtQJOWZy+OPGU/lKrSiOC+0dN10QVLbpR0N0FyXTTIzdK4GL0WB8AgVlqG2asgEyTbM39/mOGgFBf7KVkTrrYXw1rLZuxew+6x/Nyh+T8piCkvxw8vO66JjhinzIo4AsxWVh/3jcYqE4TygtnLuQh138LNWTbVZGFRD986yhgWCej1O6xZcNSOWKF/Ax+sJIrDOmtS1NK82366rjeOyE7NfVFfMHyaCUBGxNvx1kggyhRyDhIg3sELfmKRgailGl6s0fKK0gwtMHb2TPs5+nBo252gXZub9svl0rHl51WtWM5K70Q9uBxted7WUtZkTjwaDywaGDXCU3Mp10IB1fymPFfHwaF28bfvxyk+R8EMpVqtwTbwU5Id9fJ5Dc9FYZ1NQipgVLRv4EVeC8OoJGzj1Av/onKtPwS7e0f07EPGd5xT++0tBIhmAaznVS38cbQ4xkDj3PbjEcot9j9fMJ2ExusspMjbGpu0u5g+a5ZVDEZAUjG3OktPPG4wJo82GBxcqwKoJlDg0bIhxxEvuEqzUy14EGiWEoDxEU9Bi4ALXFVp+ETSBxsPhlu8VtD8g9P5sTTyQS9oAXp9GegY5rwyflLyq1+l/RNp1og9125z5pCKnioK6DOf0Cwej8D++4i+Xd5ZCE9Ty6sLnAeGjFBMfnitwneYewQGxzubKRmJ07s3LZdEqdnkeE7p1DWk/McPJvbC6wliQ6utTnMNUz+FVcQ6QbwaZitgoQQjzeXzHTUhqPE+C7wd4aymI1cGNbZ2x3/ccY6BDd7wUj0bYESkt6+WkNqX2NEeYWeuud77hz65C+JFbbRjq66UyF3XCED5LtiBt49pgKn5CpgBlT3PVQHqh3lf6SUy/BGdGLZ+mLGoH75MHEGj2SqrK5h8+GyXthWzB0DVS+Di0HFMwaylvbDDFCTgmvKVXiXi9j28170nK0VqAz5fgWNmvVOFpDJSKNsQuYRnLbK1PTPeYSuyxAthLKN/CJrr5BH3PQnFpVkVnGdf2Vqj3mAElBW2UnQLJD8jnrnfLERzm90vcY88DvFMrdrO9etc2Y7F8HOKUuD5FQWtFuKw09TRTZUCWUSjc1FcQ3VoOa9Csp/zb80H7hWruyOwXTql9xhVFMpeCpoI4Yskb+0LQMxRx1Df4GW8xl/FENd5LsbsMqYVxNIA1ddJUc9PG6VLbS2bQnqJ4R2FH0BKZViBOFKlqho0943IecF/gNWK09S8QAT9XKteyRNe5ZsJlcowiiN4+VFWNeWaVneJE+qBW8i5SMytov6IHi1cLSPY1UveDhjTqLmretgPfx44p+FxUUQwXi2K4kvpanku+e7G/6wmGo1S+RJRM0eRL45U8aWzqaScRjWaFNsMzVJk2eiMxP/7sprj/2MzyFkeYl1hsQYASFG50KufnPKV+Cog9A0/1Hkmk1Lws4z0rSdnjikT8oMfy+DgfPq/vNlbzbw0sHxQ16nMiCB9QvgagO07cQy589Oy3l8vBVrAQ/2fTG5fyN/bmwSMdFr65WmTVjTr4Tu363U4Q6g/r5TZGnyGXvPrSvjx+DWk4SgFdVOvKZDhFotIz0j3FYohMWMhRaBaqQ2GGGSAWpzcFWoO4JJdsRv7E58eGfs7mvlDZZFBrOwgRu/9lyX3hXpme0SpznWVw7RMI8a2c26rQhD5VeoN8GyvgM/nvu4LyuUy9exovw5Q3DjQUPWlbfs7PzCmqFRg9aH52uzBvrjafuEJ7vgsOtkiTDP7ThRUNJLwGiwPz3f2F+pJ2bj+uGOc/TrBJpAcjhwktG9veSzemIAGw6WHVZUF/O+HtzaZECvUxOHcmLB5lLW0qkzqGNZhN1644gzwTX3lb4G9EhmCd37k/6i5a12tbVSMH3ueSrY5cjV2gkPflsc4UgvJ81F5eb418HTqbQ9bIblf9ZQYNlMhIhmFIR56E6RSrFoO7C2wR5kVRM8BxtZq+fnPMWpHUXGVWhEUIR3TiqDlh9ca+dT9qhwrhTarBedLA/z9wcgZ41meVr1ehZ0vH2MFSLa3ChdTIYwsEaR9jnt5OU8409I3SecNMai2NW1IFyq1n/qP3a3oBkzkBZeCvpwfupphGeMwuzlyM+vG2HIxhvM51Pl0RfFqfM4k1uAi3fN3U7IJswKJE7MtGmtK5BLiaaNp2yPBy1XFKU/yBnCuAMdFdbobFF9ZXDlK39Jtvtg8Pb0OTYMC6pdlUDZw4vcccVebhNpaIVyQMfo5kZXTfs7CwMuQFIGbTNbhy18pvX2UvfaeXopIwfZgPnUb/7r45RSOBy9kD8ILClvrrQdAH5bw/ma2xwjx5KtRc9S8kr2v5meRG+ew8PH8BYpVXQ5AI444tOJowGSSljTvvwpVCxcNjVwJRHrad8Tp8CZ6IcumfR/SYE1jEvr0X5ASRsbNq2k+sSPdXou4srJXwuTiyJzbiNHWTkPDHLx1VR21MwhJ7JFukZBW4BhfBaGgHrv2w/73KTW/z7QN5SyNcDraW5bqQ1mWffGs3cn0l/2P5qyvfNzht4ICwFfhZFuB9YJdFcNG4OMAXQz3WF66+zclVHFdEMn1+68AGAmwPETj9dnOYt9wHVk/QVXlfHfI/nY/3tvLI6oy01u3ft4ohMuFQu81PRGro7ejYtE0pF5sBYHNqWIqHk4Njj4SRIbWkd2DayLcbHDwyYI2imerprTbWK3fF8DCtYlx/mqyAU5maje0Tvv/wyik+fvn/plpWBp2NJkS0DfqFJRff6F3u7yUpnOz8ESiCR7Jax29I0YMNknxmtMW6KKQbEZTzDBzsuSjtHd9RbmYASbOgATH4RpDp3BYoqB+uBpu5q1GxHgBZw14RaKwKfwon5vcsxmI2JnlMJUXayQBNHiLgNl7zatItzSv+i4sJOuBoUOOFywGEG8cj+dIN8YTkCaOTRtP+8+XCirVqXrXsrAtVk4qd+FoO0f8/wavSONJD4DWCiMIsKwLQBgRgECCCgtI8gJK+6GdcGWUhwv2ilbtUgHDiCMRjoRdvnPA0Lw97ZkvfBE2CVlacEgaPv3+yqq+13dFGzxz6tXLiaGmWVy+JfdfByRUVYh5weyrBJ4pwph2rRs6OdzR7h1vns7Ad2S4Jdzm2XVAMfb1dVmlGeBhSFiyb5zbRKG/sJGv9b+a1Xp4M5QFbyYqIyHTWDq/cctPRLhchvtbfHXPC+FYtP2wqy7LgswGNOPfOYz38tzuewlGi8ZyBzibZslruIWgr4WhrM5UPWn20fpC8MdlWxqrekojUVP5cBa98D1JnZL9imXhJmTHcW5qjygWHGmi12kPCZ6nDR4ezhQ3KnfhbyAZ+51OZhndv8+2u7gabz8cto3305PRdU83oUjXUcn5P8JX3pf4x8LLnI5V/F8gjE0gQdhoqoV88novLMqwvBLQpAmoun2lqgws1r9HnTp8R+/EDb6FSfspz6z2OleDQa3uA2AAnG2geH0NJYrTbg8lGz4E5d0yQag/BZo5vh9KcC4oK0MCoxGGMd8BzyrdiUG4S7MUtIpUDqUj5oaFsCrUzYlbFmqlMV+B+4KBiNq+9Z9AeHzLYniuaSg1npFT5zUBTRU5AdsOsJsj15HG5l/JSj4nxVmqZIql6FKgkqMJ+y/FoIWBicQbnQgRVx/A0QCxv1bzCe87+vEKpRuJZWpPIJ/wR5RfuBOVReGrpWtF3vms8Jp33bSOUeTxNI9VP2fPwCEfXgyj9WqEG44DseJIBne38BtrRq6964J1vFsbgwzS+3FCAyGS8FWtSzp93/7g5Zl2LlN09iaD4mHwvc34PBkO1P3bzDb1pjX77Bp4os039Xa7IF1bu6pTYlY0V/JizrpAJZQz0Qf9DBnPHTidCRarS4nJ15mKYUl4DO2EV6uVolPjYh6zu3QEK3ZUX2rBcWkgKB/8OHGG1XfK/YCNZm6Y75CnvNNjaui0qDIpwgcLdSbH7Pbee2bM+qwJs+0C6v/1yuvGvUpCqrCT1icah52WPAe4DZhP9+ZwzeGS4Pf8sTuwQrqeWbsRMuaNhizrxoB6r7b+qmSRtoJHpHLMUj/p+h6bq/82g0KhFg7PEeXEUyvb0JmbJ4Pc+E6dX85Tid296gFWdZ5Yiw6byLR20vJEoyHYsi/yXjqXtSLAKUZH/uLATgdPl8St4480UiWDnq6tx8la/Vm61ccgUB4MJl9X0VB2ei0iNKKO3QkzZJET7z1MUGGPQNiW/E8E4fhME8hFjPcJQGAMAZXm/lnXg6Fmt9zVH4WiVJTH/jeREsML4UY3RCQt0nSjSJIyR2i16p9qUDVWlP+NIw2tkln7kCfqTKzsJg3nzHcsTkn6CmnysxmhMk7rRF11DlwQsgI9aHxDQHgTa/ENnno/PqiNrJg9lqm/jMbeCqCGLXFhFMZoMrzUeVWyIEf851kk+X212LfQLdGUuzA4tFCs+VWbv6uiDlzOg4bH67S6JXPqQ9C2Hq965Bi3fLB9E9PiBdrqb5+K93bYOGaDvNb47Mdg4/9Py9dTua4k0lk8E76xXx+D+NVxMRLeUTZIqCx5Iq2zttdoroQ8BoIaYm7Qc2uHsFJclN5HcbYg/CTquGaRnpoCQ/N+IZhT88305blyPUf9cSSltEExwGU2leSchfwK2ReaDqxijrOhXqEMGY9wBlJnY96wdLQ1cVyBNTA9xuLHfXtp/Gx1Cx/CnCL0Kvz9K+t2cpwyvbqZJ2t89ZXWn03P9pmCRte8zw9FSe+QdDJeqfuuLvW9wpXcn1rx6LzvATUDcgYWc9PuAGVzLRIna5smZU7ENShq0jQSTGgGMkvzRX4ComfLJkwTwrFSgq+Qvtp/PK8cyhqIUc0p1A/hX0bR1xp6m7abiR+2sPVbuV0USX1bBCLaUXazjOU+kx8ZnDom33/TSNjJft8TX6GaU59jOevGfkMfj4DVGhVi7NAFX8HESizwj+6of5FtBv97NaJQxJYSYiRcYHmRv2A8qHJSLL6rIhmvXcBiHWFNdf4VfG2q8EuUyOhf/vnUU3sK4203yNBAukxNwjlQ3V2OPZa6h5iYM+nNFus6AIJqsUG3ubuujZxH7BXfu0aClCahu5taYpD7NyWPRrrWGma1ysXf4njJlv59SPuA1nbF/1Dh7OTRYs9cB33/qP6c5WIJTer/y97zLzJbF96SyJkxfgoP77rHbxd9Yo+9CwJEn8eb1NdJQlilJiON1uy+L8E11CCbcNdbzcE5JiPF6yHfw62YfGqwwVenlhoGRkBbP5wmz9vKW7vC5rOIs2zVx0l187WyZpBDRIwnmqXE0CWOwT38xfUVx62CCuwN7+ZcnrRx2cJHaTzB1FEvGL0wSNRoexHMWTXikVdDAXl+0Dx4rlDlIJZem2on/FxdX8c+NkrWi/dV3teIBwUq0fBEIVXHVvQQ1b/U+W4ZoC9/B6bu+Lhn5MqTIj9EnOUs5+s9yCTWvb0ziAwyJgtc+AREGvActK2jP54zelMpLS/pkgyD8UuqOlrg9cxv8nQUFCjIvj1vSJhz8OoYBuSVz4Rpk5PQlP5BVEsTWzsSSQdDSFhKIy0P2/1D6+jXBLruPBABmpsOOjRSbjGsP5R+Tzzi7qNWdSfmNMwIdRHOjYlbvqaEH5t/XhShXT3Opxpw1Ot7s1PnQd1Z1ZCfJXPmBpe/BvMccStVfUygxCdJOORX+nYwUaOE51ThEYVpNXd1W634+9omg6GXyYeTBUpZg6tJL5JvfY46gA+nC+jSOZ1EIoE/0qkNRQiK5a7rN5BxQecgiWtKGgrZQsD+yniUrlTWoGlPCSWwgbqwWLMkLH+4Vx8z3Gso2uaGQngg/0gHhcXgJn2a8ElzgLXrKjX6PVg3Cjdcx/QWKV51pLFTvvUMBB2o8+hLeuN6zmF4tBcGA5M0pMY5EWw9/dh/mk/mPLMhGNPZuxyQ+fQxNT6LiLZEdM4WfdBHynAGELL0LKhUBPPlua4y/VLrKYJYH073Fvs/VqajvWw+c9AzXBBnulP5+bSGi+LaNWdPQxgLbR85RaB3Vf8Z77BNU81cCeXpsuIEBrswzhJtgohjunhyEKluj7V1+tgcXAkgt3WR4xExB2BJ3ffKQML1tMFgMdxWryVta/uE0bdbExVWXo/1WPifbYALDRYaQ78zm1xERNWn6+6fpTXcMc9Hz1hN9UOAaB07STt8KxxNRFCTe0TPUfZ3ZVXgwdQKeABKmRdoZXPKwOQCwiT8T2+USdBrmu70Qznp+eNr7ZuDP+mrB5Z8GjWLohqIW5u7zrDHIN5AVtTHUOTaHQy/HGQm/areJdFGXiQfRUqxn3zl5+5wQuCIkWJDeaadn3/p5LRuj9ooPfn6nKCt9hpIDNWB1ZioSB8fzUAsYTN+EAcgxlmR73YGxbpUmQqz4x1eHzfX13ii7sxuuo8Q26ZiXpUKOM13TOj6BmqxNbxgonbjz7N3ERVWPb+CFX+RCYNHeeHEN49wTJOsY8O1unQtOu0TyNvuzQNFxVdq2Wt3JjylsYWS+m5zAK0sywtbtQ84xHTMiQVyPWkI1fzTcuvEkchTG2Mk5knHd0L/FOr72RL5vrG9X+Irnc+MWvAUe9oFm/SucN+lFlp+VIc1SwNx3SbLDdi9CG2qRnLGJzKByMkDMITbf7qssFAU//Gj+Woye6mVou3SlfZO2x2Fr4R3Ipc9lqHFl7hVROW5l0ZmhLzXFf6y9IG0zBN7oHEVk+NQN1kWhMzSGoqX+6CVgEGP1xOkxi0BU9euyEX1OukAq5+mfjTB8pgxMn33BdCn4tX6TEFifRTfKaDcdNBP5gGfLvQk/XLaAYcB3b4pZP0Eu1cAsysNAQz715UAXSD8/QgQ3DumK3Cv6vJR9IgHxc+8pw3jvzsfhq3VQ5Li0J56v4upP9y2mvZIdVRKzkl5BvFwAgW/Th0c7wLJDG5eOco8Tytdi+ZMDIARQTYwJZAx2oiGacUdNzLPbZVyN4OfEZfM0C1FokbtLYqY3jKYLIOQ3koci9HT2SyvtO+0OC4+fFje/9aGibevA6i5uWVlioqss5PfLTXRSeYmKZg+kkhTCG+a0AJ98Jy3t3lRkqBkkD0hde1RfAwBmIDOAJYAacwyT+O8edTVAdPiFzcjEtPv7UFGodl4QPvHVFmYQgXQhwa/QPrN5sbrrrqD9wSwGTRsYr1u7rXzzgMGDg/lLZtRRJZqQuw3S6xa9blE678Fqdj7wGR7K5COU6SOxopKNJ1wS8B55Ro9o+sWJ0FJwkqpzS+u2uCHvhrRQ6cCCzEa4EJEU3yNl7bb7yf7/upl+sFrUA26/2kD/XwZRWqKseNjF7ykUxMRK1RcxWGHO4xAN5GAvaNa2xyY5mRVDzC2VLIKeiAtarl8N0oecR0b6S3yex6jO3y4ywjmNh1xR4iFR1wWBaxndfHi8UfGfX2JnFnNMKLg9OuqJKX/SzIuEbRcGzp//zDQRninNzA8vBoaf564FfnG+xzaaHH9RIYXL3+iLJ4MxMjaqM37CpvY8wAYS8vdxk6SMK3/relkztDvaTTpissnCjYpuJ2CctGiyzDOEJ4So/AkWZNAAZT4Y2dReEbNMlBa4dznSzzPP1XElfhM3NPolwnfnCgWbxcgAeNI2qZuRv63veD5S5fSfPwcljAbRDhwcNCIpzls1kPnX6diu3R5htO9q85VfAAXNydzpweJjM3yY9mGaRq/rpCEf7Ot+VVLK0A7pwFzr9fkOYElDDM+1ZETbnDKRqBL0MEYHpnZUK8bKyQPrSfF3k1qldMJ/z889dQawb2efbXP/fs/Jhf0Qr9JWeuEqlV/oHI4eu74TqeF/hcvnla72f68+017HFf+Kzdoxd1bmdygM3+KD0Zc0RBcWQtOQd2rOrGRpVh/WFGMRph61YE74ZpLq3Q07UoOEdMLlk15RxaWhhys5Xnk9KH4JXlL5V3b4X2Br9gi7vWZq6spiKEeGPnCgrlH1dxX9zDWXwvW5WpD4Pb/0i93BF0LC5gXlkxz2ThpNu7d1MCzeZr09dPmTk1FfsG8cYPerQwR3Ll3pqcxBVlK2Mc5OLul3cNKfjIrD7bnr6ISRCUrdI83rOLbbmvtNfZ59/8bNBCfMdNtLY3XqQwtAmeOMe7fHxNRVFKZWyU7yTUmKwlN9AFblag/RxZwaefaQqvN0l8hKaKGsK1UxcJLP3VDqjVK0wcK9ROaR9yMFtJ8L8D5P5xuK2bVEEzKcHqYUKfBP77zvbmwlCb4v/83h/FwC5GbeTRcYtpD8Q/k/JtaaSDN9Rf8MIvGzz2Z0oqYEt8fWGOmLHcssWvgMcpILUlAbuDc1J8mCnHnuOoS0PkhdgiEdz8droWRKpswQV9+Y8+I1wNXcoLVLaiQyLLcRbmnX0/NXJLAgJZgMqUPYZJIMG8xGMY4TI4BI9tAt4PurMGANTQdSAaIwBbrBurAeKJRNiMdsZr6FiIpQGtsSZZk9Cjq6jy8CTHJ0WIloCr33fA2SBhx6CkatIjvnFMB4jM2tW8OAcVprSEatDZNfWqF8+rs6wvruv2M8jtjTs3sBd73yTVMRv6y9sOo8rfXRbCe99MVWtiHUqd/+XD79MsUbyU14fulV+ACxVzSYO6NKqOj/Rz56duqb4sZ319qllUlmpy+zJ3xsVu2qpeJ+S3Q8EhEeEz9pZ8f+9L3NyQbsP5IrHCU7vVst" title="Mekko Graphics Chart">
            <a:extLst>
              <a:ext uri="{FF2B5EF4-FFF2-40B4-BE49-F238E27FC236}">
                <a16:creationId xmlns:a16="http://schemas.microsoft.com/office/drawing/2014/main" id="{5DFECEF3-57EA-4252-B415-207242F1A527}"/>
              </a:ext>
            </a:extLst>
          </p:cNvPr>
          <p:cNvSpPr>
            <a:spLocks noChangeAspect="1"/>
          </p:cNvSpPr>
          <p:nvPr>
            <p:custDataLst>
              <p:tags r:id="rId5"/>
            </p:custDataLst>
          </p:nvPr>
        </p:nvSpPr>
        <p:spPr>
          <a:xfrm>
            <a:off x="718002" y="2971800"/>
            <a:ext cx="7760418" cy="3075742"/>
          </a:xfrm>
          <a:prstGeom prst="rect">
            <a:avLst/>
          </a:prstGeom>
          <a:blipFill>
            <a:blip r:embed="rId10">
              <a:lum/>
            </a:blip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U0C8XL5DlxUTXpO9Kyfb+JUU+U8STGqbHTU8+TzRnwzxinaHOgjIk3EqivEVsrRhpiXK/PxzFVG+DLAmXIYStHQkzDBuKDGGVJglnl4iSo7MZ7vMspj7WwGU1Mu2YnOyefTcwIUC2JmPLkwBtHm2Kx0siQ/H+otXpSfr0sXpwM8p2yY75CHQ8FKJXPU/TPn1qxmg5mGfjibTQiSX4YE2D6O2Q3w6ieAqmKmWobtWKZTEADUivCNXn4Ah/VI2pAti9g5MYIz+8/IyNCPibStwB0hCC9kznOnkl29fjsf7Wn6XkgG3/+yVyLngdp5qLHyXE8kqdYnN/PXwXzrYNMlHhf0ATjuiEXCTTwDP71oCEh9wq6zheAgji1s8jQuyMdILI1WyTvWTAGA/fYqztMCo2jj+xNjhNxJczRvrZI3k1NuL/HZNvuMvlEnm0SkUc34aL2GPd+Me3wx908tdUiVkYyazayKoL7k7ZwHMi+8cZr0ZKBBVPB4e0RNg68I9EvPrEyFddPu6dG9UaFgWmEYXdgvPJ2cvAwoEeDziizG0J1cDODCbg0hG0fHIgtwc7gsMXDjsaIpZW33URCYsIvdilpO+0tbGGlC0R9aJ6qp3xMvUWsBTVNQIV63hdve/yIAVmqjN/1h4hFwH42y3AwOLHeEzL3Pfzm1VzAvb1KdT2aHLk9Rl3YexTEsX75bkLpSCtX5QGWziyXCbN5zMUFYtiMyA3uM+BtkW5CYuQbhKUvIP0jitL/qiQ5hWPaAkBsfPP3fKs7lqX2H4I1Q+oYkzBngromc6ft8sXJDNUcYQ5hsmpEHDYsGxhHoQ/+v+1TyLADje3E0bhK99Ky3Zgp5yXXRJX4xXk+agohtXy66sN3D2+rEgLu2hrW0ClcuPxqdh1eFGbbqi6XTRFsl2OBJp2x3yJuWYVDcJF0Egr81QOZA6tG+azTm5umjT9vaOu4drS9275DyvyQARpeutgYbbtZ6adyQpsSQoG6ZFHSUm8a1Qk+Dlzc6ny0adn0dM0zK/ND0r7IWE/Ps3HUNcJds4MK/T+geOuVeXI7fXkrFnb5uEOEVqi9XtklGbpgFou9VKfN7VZGUjqzaqlAqm5ZbOVG5O6VBZ3EYPPtuigPhav4OYPwxPrr4dAvdObOTCcn8OuqEIQfU1H97TcFS0kV60G6UROjsHn4Au/qv8sc7lROn3b/d+SOjdeYAvlr3qGDChKbHuZkTq6zvtzz+a5PlX4G+/8lzZq8sn7ug78SiZgvytIRwYdBN8m+13TTJ2F7RIY8az+pmD8H8/zPXL32fC3rbW4+RE6BBnefP2mFh83QaNJqZ4cd7NScPQTL4mtcB7aGLGqjONkvq07WQuGFoIDm3AmSsigDgSupIAit7sI2Fwo3NffUAuILkGdB/Gxw59AhLfLBW6/WcoVwnmLh3yJnYE45WX2D8BIgeKEZrjnijh1qXP9yVvl4FkX60H9e0QqAJPL92HhVjpK7k5yfaqJWRy6RQcqCdLbkPDYYnsP3MzwXyaUelo3qtCNjcsSBxYa4mjal6B9O+GzN5CO5IhU1itKw31giAwVEZf2bAEQoSikxBtVO5Etezcfo7fB1l574FwsnEsNpCx7wmdFLdAnM4ZwA5vJyK9d0vrUq9pKQpVO+n9uMkRy2nNQKHaJCQ/CYxpqPdO2wJ8nAIPCfLE8CekKN1TL9xfKhZmpahcQk+W7W9BGXnPa+hv6EDWXYy6mzEQpGMHkqbneTJgU7uVKPom8uISe95pVIwm+b2qy5quT6AcWGmfFn+KPrLd4Jgbzln3LeSsQs3kqtYG57o2AGdQ27k4mQsJPfAnNV0ZEuKuKB8X8YNrU0x0TsfFyi7Av+xgbAW6/Qez8MG/Ijd4AX3u8stpQ4tDRFMYpA+zntMaim0GsF9JnFoMPq0X2tODwKqXpAzXuj+rG7yNI1naLEWYadGIUH7pqw1mTsLR9/uPF5kstBDjf3xQ/J0DBsnLPNTgVP0ng8Hb3HplsPaI0yENu1HgItLArBsX1fdW+PLrJh2P05v7N5JgUSUp+QA3PS3sTQjOSw7o32klvf3Lg8sWKwVB6od0aLE211Nf0k0HcJXq249atLDkk2MQbFsCSINXEcUl4lKGt6p+sKkRrxGwkNmiCv8vl4SozJY80o7PJG6R8QMiRP0b48Rhi6fBT4KyXVLcifdemfmqAtP1RiWGBMO73eKjmpWyy2u/DacSaPvPk5rzFnb7xUqJ3E/JCrseursCf1WJIGz6eN5GWCdd6ghsuYRqcFcmbRhnAejHECTPtDcl6jjYva//sXeDUEAf6t5djltxeEgg8QDxIN88wuseoxF5xGYwZnTOaXLQsTmHV0pbMFTDyZg6J46nhXd47nyAbeIo6loknLoId0S4DE6S08Fro93XJsMvkyk+CK7jyQ+xk+dabOwG90ZIkhbT6Kk9B60Tnhv/50rnBAgmMwn5dckL55Z/hUdet15xDkE1sb9FwWERGkDMGe7SQl5X2fMHBIG8Io9DOXb8tybZNRAGEos4df1+DXuTaJ/Ht27CpvllMvegb2CAoUvLS9tMxWUbkIbZEq4PPEZnL2d46D3B3XRcJyFXF0Ey1b9t1Lf3DImf1Unp6lAgy80nbnyWvm9Fmol9SJCzcLtrcIrul4s7vEo1/qlkGwPzZeTSMxfVTeSM2CJ/NW/ZcH0SkdKlliEYuQ68xM2+0sJydHLYhV7Mlf7ZhEd+iuLuBvyTIwRXDH9EqcnNSnslNLQuP6zXTw/ShK2N1E7gWRG6/6O27DcCqCtgn8yorMMUdoraOdjkblPO6maPaEABeOqsUDiFjDWFbUkgAStaMKXzKLwr2nSVzCc3QJE0tfj9gNtQVs5h9lNluC/z4nWxla2YdMVVA5GV2/qyuOjw8x5qcViBy1M69TQgiYo0koTRfCmieU+HN2EgCYPgdOftpHVcbElDBeVnHVmsu2+UJFBhxsJohjLWUeIJ3TWkSEv2B7GXKq46eDWdCLG+Y8stjvbAP7dG4twz1OqtvPXartcWDuScigq7YBGvYUU49PYvvMOXa+roKx3C/XOPVOZW6ry3jYI/+Hb5wFaXhuyhIkjCc3Qkzva/yzem8RWkUQDI3B3xe7jPyDVo8ddgoOdJBeomuU5LfvTsK9LoMfULdP83BKd/tOdnzyCX4ms2KXfBTgq3roWI8yJh4ErGBhORg/ftHnUgfcDZw8u7OzNtpNnWHW781/+O1yM5w93CgVoJzEelU21cJgzHHMv0gmFRzdc6+eYWxt69uStRxH45CiQAAzbrutCWV8tyhpWtuLRm0ngVuk3VRv6kJ3Ll5hRsjadMB6X3GJz1/3Tq5ZFY/JVVSOBpGmjdXyPE2RvFjX9jFyACP2Mz//yDQdrpPVJwoIj00KkqdmKsxJELQjUA19rId8GSxvd4ogyIuniNEmTivsy1SaDfKSfGUtDfZwjsxgSjRJSiJS4B+uv1p7UgUANkAeRhL0EBzAq0I7GAgyyOVrC0nJxdxIa3BC/ar0IOIZpF0izRtV4T0iMUvwJr2YcKt1mCM9ZjPy+QBfAWGXpdzjGHLoa7P4Oxv4wm6OoOUnn/XrU5gJOAxWi1CT7R+nXW5xCWbqPPAWllxYBM1Yp0W7XGcBdacoWdFIYljaHzQyOv8l8UsyayS5yM308MlqecxQPAkBhGGQucWsVd+9EHhq8CQQ0LB92UJB/vQXrOUWQomk4xZ6Jsc6ujOZHut/55/p1xkw6Q19iqsE7xM+cyeyWgF8zNGDab19m2Es5QocTSNCblO5E9Jmbod1oesG359Fzp+Qmuh2B9fNS2XYQRkBa0auvfNYPTs4Wcm0a4RAI00TS8PnG7HCYBRRM7xlaw5zy9Ile5l7SNwD9Xg63o6jZCHJvJOBBhWp3KjpnMc27bONh/hW4fIk/V5k8pSe/edvnZgz5vBGvl7KIquwmKyQ3pvaZkdPNcNCyJKsNq/IZpNdQ8kLQKu6Ubrr+z4ZopCrsDae8ER4weeLHuQVcXtlRW1vog7xfRyxU99ljoOPaIP9nn9hItXERV4MJ6OSCw8q1WW6zg0cVv+IceLmvilfVsvZ4Pi47V1A1NyfzT8xFqDOnJSZkzLN5gcxAlrSm5KHHeLGcbL/qD5+Vz/EhsOZS2HjAWd8RU0tUrFVPnla9XtNBcrKTCnR5R6Z+BEqRXh4E+C8O5njF2QZVyIqYQ1NuJ4NfYS4SfWjxVU0t4skTJtOMVZyO8WXyy3fgUcrhsgo2/OrJBL4UqibkE50LtOY+Al+0oO4/LIe84dGausijo1EtjNExgFSrcrLolEtDRLd1dU6gxzaPfUYw1G2lf21Jin6LIyqOuC0ExDSeKDXmpTHnOnE+NlIlltKcNPA3uhYWRZRae2Mb32sv+Fl++F1czuNuh8Eiv4wkmo6qY5h038GrVQkILhrh3cPqB0kUDy2n3G5WBXoTDsrtTlxy9AwS0Xo73+cekka7P5vWVmznTdfnV9kIiqMJYOu6xw/AkQADfPv6Xv8/IsC26GwcuYBnLVbNiMO9hJxqFoQP1mysLTfoijalkrziXvI+IduuIGZwSC3XsCF4GC37cdBH6qTEt4WlZB16EGImLG6prphFsB8f/b624d6N9DFDWqUFnXxaxYtjpn1GV414py127la8UCKKDd6+IVjsMvr1V63DNlptPVZd6t8qR1zNid/GtITqpsNOCWJBqqO+x50dTq9r/d9VMT9ymCHq7ruRngy3JLP183Zm30VKvkTi1SH9C3QOfTLOakXIzUISAICVu5HdyCoBnAMhoKwbRI+u0TgovxFzVgMif/uCcohlkikCsVq2ctYATjoN8vrwgyvpxkBiaCfstyLYD9MqI3GML26KaUJVCft01HB0QHnhwNIeTuTlMrVhuu5TYabr7sJr1V7e0za2hVr4vwp4D90USAzcLYruEWb5fQbrQqzUdHTtE/1yr8rsCr8ISL0CP/alCrD1jJAe3Q77UPd9/5nPHa67oTobgEvI1BnHO99K6Jsp8K27JkMAcIeitFjwz3BgjsX6OtSBSVUywxOGux/PlBQKC55Z3xETmjyqGa8qFTrCD502xqISUse/aUoQdBlGbPLfxyhA0RvxkUUYvgZEQ/+TjgL+BIYuw6TqDxoSpG2ck/z6TSd4EnHXCuHi9FB2ZnuSYNFS43+ykdTMBjHrqhDeRbODTItesXLAoeo+t632VORbsspHa29nY+yHKF58yn5uXUPSF+XANrHYtX5xHeGFNOYtTdYkdRJeoQwfG1TC3qx0yqsQv7eY3EBqK1q6B2VcyIMXw9K0VcOil8MabY0/9xt8Qq3/oFVgL/EK3gq/9j+cgIaQNL9BWO/mrYThbESnn/6soNyZwB9sEXJ+Qsn6RSK6j08ZjVKExNbgoH4oN4aAiRzSiZV5iRcZe7hfCqeeCIe/PY8HZlIObx/cD8W3/ubTnmTR+wmrnXg0FhjJdqAcrTnOH6KtT6gRaOaoONe949fJdDy16jjkb97mFkED69HyrvApUAgZK/r/+7dSljlEqBDBtirtZKCbemqdP3eiCIa6h7MJ4LmOO6pLuEMSeuTdOJEFUkA+ZzVHgn7cX8Bo1xuN21hV0opbikDCIGcuupmd+3/5Kq0NmlI6epuVNLYMdTGJtkFxVCWiclaOqm6m9a32nEZb+GMYO3liXDG13bcmx3sbu3gIYvEQVzzsdym8dcURS2nTJTNOqQgSLhsPVkYD+M1NizpXTBQAbKchL8si5QW9e887sv0H/rZhTteML1B3PwL7q7pkn6qMHeJejMKVhD7jJaTwxATjDBz0eD0unkkuPRJIIpcjN5d5Bgb/6o/QxrnpbWPXZw0+14ESr8JeuIMXV4QBT/vGZ480khe1F0fVBDkmVBljp/9A9ZM0/ZLRqKJbz3p+0dPR/Hwtxs+hH2Q4xbe8hXMx41KXKSaejIA3ERx5bLFr66XftfAb7V/eiVRLpbIQsHAsz9ElMxRq6jecDOev89xKzwm1OOSDfgYWrm5T6p3glxGZyrHnYsJb4VEarny/3OiAZPJMbVnX8Eeup3IVdpUg6b0fx/2BF34sjCCbZyrCm6Ulm60x2ur2qd/c0odLRqJypeSqbgAA5m8HxqMsf1vxkXH9MCEdbF0hI9uulN09HcteM/J7XNhiOHkwIT5iIKr16gJmCO7qmBpi/YFJ8riNd+tK8IyZYbn4RAori3UIyiJp6nq56qyRtcUjhNhOtIZW+3DpHIBoxn3tC6flB+8xM1SBisMPaoX2ag4IyxMkwtq/xmyNPQCp9jCozCGcVyX1vK5icPTfJOuffHvPgIGb55v/HoxN5G0ByvDDjCPkHHgalay2WRH3Iva0V+lhoIbfU9gadmpiemRQGCym4b5J2OF6ZqCY5Sytv4kFdzAvapqOLCFbrU8vZF1HAL7phkB1wpMtY8I4ugNT2fkOfQ7HZ6cGj7QeM6IApKKCQ/gwrySZM/Z2Hg3PpgNcBoB/40DBPYQZ8ihpZ6SorbeeZCF2bZfzD4FmskQShd81mIL3c1IP2EQYS8XigeBQYz9TipPyjzoS+SB7nbhKY6ebvNHp+dpxZvh/eT0r8p4lKK2Q8EmnSmH2GREyQvXg3GCJFkuSC3AGUwZVcmsYX5O0T/RfaZXTYRXpFKGPvuV6N/KvzGrRN+sfL56w/rshjcxphdccAcI0WB0JFc+T0my04c2acTHath+a83nn5qDhrLM6WZiXEsjCHJn8H+RO4pI3mxaeJboKDbWd1rwpcj2xzTar7H0mkveb5rDVvvjBdBrL83qm+LjbP9m9d88t81YbDwVMouR3uPz3GDNiQl8pZ68OBNXijIsyD1XZPYo8Pa+YMrk5cd2ygC0GYsv6GmxUARv+xonlfAYMrRIDF+apGloY+8npkgX/BCJGhTscShOJJgRtQR8wKIjAypxhmMBAgqvtr16Qsf4nIWXRPe2Oh5TOvWZk/lNJH4fjbFKgpTXdKWO6phhG/bQjD4+Ltk7STY09UMnYA4wy6KjYlmWjkN0Eum9o60XAQyf3CD0kgDSZBg8RPG7x1UzHypk/BFz/k+W9IUPcVjKrU0P9wUDezrm4t5M9NGPfZC+ZKMj/wIxbV1V9yzaOgocGZhLKYqvozHGH/n/3tFtuoG5hgJ4HG0PxV+6sdjzsxXrQR9I52sUGWBfsY6AuqDrPHKpurXLm48Oyt5nUgUxgZCkdJo7XQ3Hq3Y6yQnQdCgjnRHpHU7Dw8RAB8YHzmK6qoWay3HxKgiWvrSsGgvvSbE9t6gASLRKqjaveuIF4JtvimmeS9TzvfsN9NQ+eY4qj4OXpgcJglk9VXxSwkGMfgkzyf0pz7EuVint2Udn0G15QoU0NnDE9MmCiuXT01fglVIarofdkX1QooOfPIxSSWBwlMi3gEKJ5B0w0wzG7jZJ94jBhhWQrRwrqAw3duQD+JTuUS2mAtj6y4HC1yq8AGxsV35XSQx/A8D96mUcteoVoMcf+xZ8D1knoSezDLIvnn4raNS+2xfY58oC+O2yQQGe4/PzJWhqsjN6vv3ugTz7wWav6WcrHo3n+5q4hIFJ2x05rTkIAfaYR4XbtCQyoyfVBwP/YN9a0khzGa8VRmC19mChUXaMHFYRyDy1QefrLv1dgqhr+IGmLC7jd6/Yu1S36kaB/EZcJu/XLFOIm8zLzLSt2v+IY6CNRdMWEDYypJdU0M4I29sbzIIi7V4XvyVCV5aA9qMyM9F9mrNQ9oop5p3PI7xBs1gkIrSh+Rdy0ZntwnqjvLvOMWTj12BC4rdQA8W61RBoh5ln7sHhwV1kGo04wy0Hy6EZT+gX7glehkSZvVc6c2y9En1ePDlSMKkYfdlstO86H983T5uRHObTyjGkJzQgrBXknBOx0vYEWfeXGwVtMgT9wfbtFdLSPM6A/xNlDrIaRGZX5UQiDf9C/pf3EGpZNVwYiP1MMSjHXGsp8NyccyNYLepqn5t7Cvqq/hrmuhQXiGd6B2WM8+ctui5lmlWvN5Spts+UD0iV3n77BqBhXXPSGDk3xR5e6PbwDSEKuritvGvSH9lxfSWOgVOaaROwLFc66f97cjTSB9kO7v/uG7IGlb7WelBgi+ElAS5wPZ/bmaoF273fu7ymK05bg16K5+HrWB4b8sImituQX8E542HsjXbR//QwUp5jg/IQRskX0cfpWC4Jzbx0iADC6v3ItPFuUbSh1ptsHzoFBIA/DYvLlD8AJLvIrWfNL4Jwc+qM5ybJknp7wf6JEK8m242VTTt7T4Y6ftaDhHV5aksFfPKh3d2ORMrbDl5wrXF8cW12bv9lB/suF1d8ZghoR9Zg0MJ2VRs2JK3oDYCkJfkEGhxpc5YoBJLszsEgOlvt3ofGq3rd6TbVuK8cJyTiDotfiH7F7NOnw0AjwrtrnqhzbYXwKawoZVXiLCTDd3e3Xo6D3MDUDKC6LBRzbvtUjwzAuyVhxxIz2AA3kJZqlDkiiVlm0ctd8Id3MobUe5tnaA5p7R5InUeszh4zolKfxCbW4kygo037jwXEQYiZswRniPGXkh9KXng+9xKXUW6Vo6tqhlp59jvBaA2/0cLrV+tuWpvaURNp7TlyspvJsiFTnGwqi8kmruSAaKZ4cwQpTkeDyV/iyh/uHXgCeV+Ex2rZDGOCJNGZPEsXLk6oxKAZSAh7GHlocDKVMlkiQV+WbTUh1jxthxpRxP8S2rr9juOW5qgHjgVpdCOzihjJkZC22ftTFMhbVF8gyPNa+OmRoBt52BPemF4gIg5hMSJc5K0ERIGkMf4e2uf4AOzQtPOi1tmgpYtHJB9/rRzauoDKpDblrIuv9KpkfdAx3hULby3aiMM4mFMMrY+NXUA/CIDNIve9jfrHG/a6+QWwt9zt12aMNbMdxjF/8+gODENlfjXUvxwjaUMqEe4Fo372PIbLyFpASkzYr2xISL3A2tj1G5odlkXm0Bla4gL58ttRd97fXDURh9PNulTYInKczvpcvcugspZYWBJsxcZzQPN/tcYkFb9FrC2DE9BEILbirXbvcr4LvsFNP1wE1Ldn09F+n5XaNwiArwXpa2acslYfbsGoBmfmFjpDpRqW7DfhOMajilmNrWnb0FDqfFhHsjjDLQ+ueNXNeJYIobvhPH9FAC4j/RwDlZ7OKHbzT0s5Fsuaa1LVfcXp5etpf+BRce+nyqsynoNZqQdo6y8aIGFZw9PrHeqvUYyxWmEi5xcGyz/rTpgk+FeUnLWbMr8kzeWkl9aaOqB/1XVelaRCyRlX8p0DOS1Zzhcl+XA7LRg/WSgIOD2fknIJnm+I18rh5c2yaKfhPRqwk7WRxQlyyboeTDEolj9Q1p8xtyD15AZX1OVLH5vdFl2COwFzgFmfCXwlCvOHanJjpDeyTDXcL1XzAkt4bwRamIGXEIMPtk/lL3ctKugwKmerOWW0aHP3ZLmZZ59ioaSqOJaw/0vHOEORkxbfDK+L7hMcfTIL3lqXFbzejO/62/XFj/H2s8cAKw/Gb5pj43GZqgfcykvEpsWAdODEwsQVPXGGVUOH3bOCDyhGv9OvtSW555Zr3GuR2VOZHsB/dyMCqQCQOfktSE/UeNapF5G7cXqJPeKVXQgDhvV/CWuLvBFJmRLkg7vzvldRZFkwjMa2lwN7iExm79EXcLFtOdqFgx45rvE/0OTdcuqA+7sfKjJgq6o2hcFL2+q/8ABWePo2Ioffno4ix6lyVwaegVj8bTXLNJO4eCVm6ctbDJPM17ci39sYHjxBefb4WGKJF1PtCfQaLjjh8Yy8RWi6hsFw67t/fFQ4ONDd8zLAE/KvynC+nMNTpsPYKEPBePQdZ9Z8EBEWYEoaV8nryQhG1QRcR738G1VeWcEmMySIzL3Pm/y7HvlO3hNLXhSnbi7LVPHbGOrEG1iIxy/CbZQGTcJa9kaEq0IILxMuKwSNRF/3JJRkej0deASvOjb4tLJsS73xor2W32HeNidVBN1sgcEGcxIrfiYdN1yMUO9iGGmtWMTu4LKrfB8+zyimSPcCczOrLaD963KBoy8Il1YgQhz7/g9z7+/8e2QNdCzQx4KyvS2OH8Pb+Xw0qIx3zF+HKDS2erYPyWF45e4Foy73R7GT9R/8NiDvxsgXne0BC14IfmA2Vy2nCK3kUNxYucdy6+S9VtMtZHKiEdtDhYjw1F6EjRUimwbDkILCGQOjTLuCQu01okBF9wNaoOEK24ehY3VsQz4OPNZBSRiBovD8yz8TvDTnIrIgJL4vWpv2JYk2HD7594VyMMv/547jKkU51CXLjxv0XpDgEsXN1+nEPKoDcBd1KAKwILQ8+S2cElaMw2XzikQb77YIkWEVQP+YqL3SKzphuFqk7BsA0o9OsNHINlB6psqV/2gFR+vBvKZUi+Ks9AW9xVaKABCB/ua7Rufti+sSXdtW8vAYA2dMaN2QcQQOh1JvWfqGKtWGQ8EZRJ6qNXk2gRypIRXI9Ub43n0vrdNdtHMkm1LhEg7lhVaxw4HfYnmQ0a0dTRov540uYw5sIC6/Sc5BfvJYZOn15XVhvxA0rp3fKfHOPN5gM0ZIZOTybebvah79RDth0XfmOl2sIspE/wlv7QjyP1BDOwad1wLC7WPO9glIh9HJE65kS3RQb557fSGP9NrzYezMmKPGge4qupSb55rzDPi8KrnOguhsWXCRf6nAAiE6hLj44NyMFmA7hkZF/IEas/zH2CSaNWchBb3c0ZGNqkIPK0mtzt+sL+KJpGLE6dJf+2oGqzDP3YJNa2npaBigazP82mICcWiui4vC9D5ywIiy4uaKxrlgDulSAOTkHfUKpl7TWdnKexreplcT4IhmtQao5BbetHvUPvyEsKcK60yn3UIM/N5QjQhyKm7ie5h6V0/X23UGCXyNIf5sLXlCFs6TaJ4LFuo0JLRMKfYZCwXHGYlQZXZdXU4UPojycYh7ArjixXxnr678SM5J8whnWoeX/mkjdr9yBZ6L79tmTflMKd0YOM/xyG+1tNu33hQuX5TbAztUwFd+HG+9vHrgzz00Hd1YcJUz3G8rNz7Aw0bXup0DlwuW83mx16b0rTEnMMN2AB1oPrOhccFWAK7+9DzloFU6KdN/eyZ115TRs3o1QTmMLQtE7K89OoY6Zrm8BbpXMtMabgy2kpIr1+1oPIlEtPn4cMzDPcm4+nGfP4wyKMP/ZAP/j+IgQq8wQKtvy+JYhsm2lG5vNEvxCQnNBEi4jrT2+JvcxS9RYtUjV/kWg78pDI/x8W4wQWm4oIdToD6OWBztcB2UncTIGLjBtzgyzpMmkFXZdSksiCyLiu/0tcrM9shKcBASdr3e+O5M5nG8QF949LlfJo2ino2+L/Gl6GEsO3KIQKynX4rJnnn2F7gTBLmZTV4sS3fHqpd6X/CQMIB6COSiORLm9GdWOKdcSmA5CNXza4f3QkA4EIWrCl+geaBOpKFWMK4Y3b75iO5eqTKpkLE8aHUxF5iPKMaDQzml3KNlyXk8IO8pf0pt3mFaA8wd5lhPV7TAgVXKCCiABRuXaYOkUm0/n6k7Zkkj73xmn2z4kTYwkvas+FLIwn/XSihDvVyaOEWXSxmySSS0sblDawKFzygw9ZDH0j6Y041B1Rc+HK+THp2FixcqWnZVidMS/4D2wNH5HanDUMcp+tjI1wJ5B/GCWNhS43Q1a5k585ygRVv1451aBrlXR2BxgrFXERrP7pWGBdl/H6w4XL6mTlDdkgMA3+pJOvYacqVb0mcLtyQU+NKXkqPWARtzYzQ3gvU6/7jMSXb9KXLzru+zchxpkL3THddnB2S3hhiXRhnlotB+rbcwFXcDt0zm8bh8vi9h8DuBcqgDTsCXLGKWX7ADvDT62a6D2wFXuEziqansUgOr+lSRBOhM3MqIgoc1cCmDqBKnYoSnS9Upqb8xy9eSYZFry4o0pczppDKL7sQd68yux6+naSKjZ6YOLze5k4bMo/I1M3SHa6gfZiCIl4LmatBjCQtnc6vYivU7NkBETwa3BfSpJbEKIx/+7In2Kbge+LmL2z8rNVUsJPgHL/rNn0zLwJIynOaf+SsMs6cjZfp6AMcMZWy9adhLF2OHmFM7xECCxxt6i3CFIeFHOIftC5qBEFDN5k8MYHk4pXuiDS/4m6jHLh+SmYfpCWKrCmdJoyhEYfDvD3wmj0qVkuGw3fco5FXoKfh/Mo8Arm5eLB1wOTuAS8AcIKBnYHdmPj2Qm2Ukt6QN/hI88A8BzrzggtVfpuWOZuZuQwyKZZDDPZIggXHa030mXVuKqk7CxndQ2kpDsNiSjag0HPJJPoeI3I1SiUU3vGXkWtm4s6o1D/wkhkljJgcztc5/RYobipTA0z5ogzbE+6l2VKYx9zvA57VCkaMVfrB8eoufdOXhNwuOVOY/ctz+S4J1p5e4/o9zcP4C6mDrdJlMD1sQ9StZS+FTVwOWK7sW7n/eJJY7xyH+RearVnZ4wNEy8X+Kzgf1b9SUCnYNC5ddCNaUhAWqcYJxaGCX0FyChusiMvmoSIdIW0Xg12sZcVCxUC/WpTh4lRwnZ5axYx6rDtjdnyV+UjN24kLJMfT17V81NO7ydErv55iAH/MbyolqEizdeJhadydBRbKehvgyMSsgaInoW8LqPCA+dPxw44UxYU3rcVjSesdgNnSGBbexRfWon8A9PCnGFjILZue4U7bP9crNP9qnKv1TbittEE26j4lmRKUiH1da2r/frAwgzg9Gw/pdGRBKRCNOscQtWxwOhRfErypzi8d2gZJm9F27Iq8NlbMWYvSMDGzEP2sOc9usK3EvV7H/4ehciFL8jgrF9HCxk1A+9ZAGP7vjV8UQFg0tFsP+3+rh27JZYcRU2jTfQbff4p945KMApDQJltI9HRMpHSt8w7S9iTotNkFI65M0Rwebsv3lTj3rp1mgWUYYmV3HUudgWv5mWN71/pQLH3vE6YwN13OO7VPFNPylqyGa159BPPDptxr24tQOyls/BvqImfK39MLDA3ImJQIrgKff4Sbjgb1rlyqUnutdbNwyhQvlpR3F+ManVJRS89JtKm5VZSQAfUWzZnuiXUITWIMaaGRgBE99HZ9/W6Im+ZRj7tzg3Wm9U81IXu8NKnRQuxm3GLhZBH5895XW6Cc6zseSA/wi+w5kyFFNCwez4qtAkVRINGAhjjsKIZO1QR2pcR9kM1wRmXJ8FsZK5kwCDTlugmmMd/od6YtHvo2lEkplbtKKwodchxGHsda9q+waW7obAs2uu7sUfp5iUQ9vEyUwDaO+IfrrQSH9CwKyz5GNdjDoIaDefWW8WHcF6H2VT59FteZPwbV/Udk3uf/toGUjIso0swKArQBx36XidOBuoo3xyGFVzbhC2tLwOJNvYzMZCdSnwZp4L8i5Etji5h9g8OigBrTI8W9dYO8+cmRHX1O3E9ONlQL3IvM2Hz+gsu9u163Ym5wg3TY4D7f4h6EQt9pON/Bb5sezwqDG5lDrJAYkbo8zH0GDxW0poJvE4v+6nO8QRttlefJcc9Lm3yG37UL/pDCogJcJjg1vv5dVo0WGWAsxprOew0uGEkfvr4b8YVdChSN2bKLdupZE4IPUocE1nusyWRGNJg84DL1f1pGsb2pe1FOxyGpntQLUitEw2dc7ZCdxsVtcNkJcva88A99kLZF7ed0bFIb0CLsMkPl6dtlhQEHNIsTjaSl37lBqtA9Cu4ka6SpkTUlDWKTVwLNBMeNL20XRXyF14Hn3ON/NPJsAtwrrGDU4yv8id/E6vFfazFaP7yvKGT+zXQDbKFgBm7pA0eqCuveTw6Mmsx8W7UJd7wDSM9YsjUfctBL2t8HATNHyD+rzeUfKqVy+i1VZXUSAY8/MOygkwmTX1URWmGuyJzPNaiKbKgiV24tzZwYPu1iPYaWjS0C0Bf9GHEUkmgyZbXotMEd6H+ZGjUpeO10k09OT7sO5GtCIbJWkfrZzsmugI153EKEUkgTdXiYdOzSXrwJNOBhbN3BU8OGyWirI54pBIiArobOpm+/QtBmjM0rlois9Wxb+q9KpEFZQ5GqhVP4T93oeHb5Ks7mOVxdnGBxjkVMCoobTFlO5cOyfSYj0OKJK+OE8A/ahILVxQfdQL9I0aOsAAOOMOmlj+2aFXz7p0OHUe0gbjjnHLDtymJw8ubwU43cAfRRJV8aD1Y6TJJ20exD4ym0QVKRXOXxUppOPYT36mkagIviSsSp27WTTJcIkZ3PGDD4dme5pUUHai+JCJgN/LfoKSOsxIOyrvcN5nSW/8mXXY263CLINXlekVrrBSHqVC/wrmVUEgqKqtq4Vg01lnlrqTuRYF3T6WHmWp3huuD0OcGfPx/AKC3Bm5H9yk4YBEIZzeee3FzNYzoOPxrY4QpjTfJBBC+wsJWr4s5ZzHHtVyXfTGR/UUZNPfnPI861iBz59jGMAJFFQxQYyqUADOXsXMD8KjiiRPfbWj0JogrVyHuCAbcYsR+4SspSp87D2Q67TvxhOEb80dzBIrgNfp9r3gSE5/L0ItF5DkijZGkMN+N1zOH+Gf2ttSzcPFqQDb14YflfqDGWiZOiR9N6N/+KECQXxWWmjaYdaHxeInMGafPjxBJx9KkpzbhF6dlX0J/h/cf0OAGjvZo+9PRAolXdMBD0Qqj35E8QeTDSVgkTfy31V1CB0mghKVRhDAyaVByCttp7CbvZiPrIqG407HdoUBcjcw7iSINsDmqyanGUYv1v162zQMBZLoa/MhR0joR/edSkbOPhSU1Xhf62zaMXKB7tI9+jNsGdiujV8Ra9w0CDQDXu+Wy6/ZiByCTChYzG3EM20PCt6Rpc+oOeZRMANct9LbPdBbAGQxKRylN4jimZvqVlmlBJutYz6LnBEGfI7rmxO/kt/gU9FVMkD5azDA6n3zuQ/e/gsZM5Hq6O8hcbDbZmr5/jO07t3ze1/IzQ+Kke0dCfLB+H0Tt7qNtGba1xaZXXopqwV8825rFzYtnoAs4UC/khKERCUkweIbM3GKEcPzz54pZ1tNXerAwvv/WYPMWbiP+DZruWmpKakoTP6ogL7rBdw4lqpbBsLdisdk2gDw0id09hvqfbgRFosZQghRaAf3L7wa8cwtoGoyes+t55XEkHAKmb72VrPb5NQRChNADWDSQPvavyLoNaZWosZssGHxmHaEklSSAMcYNbCSRXzT2PV8TpoqFCnxUFBTwyiA8lQ5wOxuPyOfcxk2irC96dtpKRSqDMay6UPm9hC+6HfgSRKzT9/hoPXhfczedO+C0FiD//k7JgG39vHlDAKxPkQMsHI2WoaIhVexA1lfoExEdRyQeQcq5/tET0XWxPORCLCp+jqh57qgUVcI6dVSc3CWt8AQbSWU6Kn7fJAnKj0u5OvOcHybI9yxCpG1Rg94Kf1HjcdYzg+rOAopHc6fVO0ijQgmhnBJwkbFUJaL+8D1fq7KX+exvq0tApXi9TQj2UZSBzTtBXARtQQMl2P11+00UOQ0nWyXC060kn9j8QsXK369apWx0C0fndUrK7M7G0VBG5mxB8ZOQLuJRhL9oo+tnj2+kOsyKMZjJzOFQ21V0uO8iyk2Ksv0auVzou7JdL/CRvpojD8qYUyRwYGc2nLe35uKp7xbdeJS/B7ulARDFN7DqxUPOxTGZW8r12CDPoADWTRzEl7eoDwiXcuUxT33gjOcIwCRsIEv5jvLXh9mGSoMtcesNAaiWZCIvVUuORFFRG7njHvNXVTjB5D4vBbzbl7qZCZi3laPaolwPp3XPzLC7sCOrV+wjddfcSzTQ1Su+O72kbC+mAzcPmZc8T5YqGIIOgoaba2wAnaj2YnRcvwbYNcDudvOHcveXVTWw9ef/RWDwwLKWIWnjwOnyOL2Z15ETe4UMxj5eluAPUH6TamT7ooMwSKSvpZ/0gNVqZ+VGEKE+SlelbLo/I4VTRvPs2fUyFdhx6VFn87oUos/RiBjkoGemTimOxGplyxx708B7qECDFAp9IPQABTTnX7wj7TiP2hzhzREPxiboxxXBr22U/EI3XmQYMgUmu6AvpzQibjMyn9jBo98QBBaX8kwFKnL2RNBtA/Mdud07mW9bRmv6kALr4p3Dt2ZRABgfVXtbrHscEtArnU9YhvoEdBffUD8VPkxbT2/NNfUwuQo3mMC7uTa/FqCdOyr1CXbTmrcGTMeNrWzAQ/03lMe5eG/iVm2KtOLTGYnVnm93grnSOQAIY1Xuru3Q1o9KjQqjPc3rJIzfLWCmZD3qWQl3lEiSa03LfpvITZY3awQP+zynOAsMkXtarY6CZveMxYPvp+oeScETCwtCFAB892mzmzlyk8I//6EQ9FEMDZnszmTmAjcbAWnEbWgg9itAdWXi06WzTWEgpJb8rSvUWvCtoxokR7vSmEKOCHJ9t0J24O56RSGyaDmwT+8SYsh8Q6hJ3yYwnmPAGmRI+n5mkrqRznrIFdPrAGh4CrADVYXbpbuhs60PSvC0YM561lObEH9TIIWLA7EhfE2kRIZJ9zEZhMN1tK85igMgcYAAY2tfIosF7GRIy/r0ZMss0aiVz0YkW2JtWnxSQ35hxcOGfVljjEi4zXvJiuZhiIGa78bahmqcDNZoEDmgzFtmzyYGz1z5+P5Tzxz/P8d9T+i1gXPvbqf/Wf1/wi0NIc4qsf5bciVM08wtUFQ6XJ0dbxtlctggIL96kfoTxwPGgIUeqrOP7pLAnlJXno17Cj8TED8DwIFVKmj9detu0l3f4mRXPM3ukx1gKbGsO2Jj9pt3wEYK8EbYtPK+pSFKHOdL+eaUCbrCcEAdSH8gq7uQHb6lOyIRZU7MfsWG+8GwILJrQZgrf0KvoSVY9pJZT7HWgfanBylMg3zefgtRMJVBQlSHskd+YjD0fTws8Ztw6+Zin0hdI148snbnXbpzFTsyS6pCyOYP37FF9/neMzcsnVTkWwZtZKvJROHhlh+IO+TSijRaa59I0JoJjs1qKcGiE/AK+ZZBjrSZAgi4hLDJIUUihid81AAAF2HSu8WoTxmhwCzVc7PiHIY0unO50RbMa54t96fJtOskCsIsfE3Pg2De77vDWWZBHgkITB9QqXPcJSS16yDKjhXTngliYLDWTHG/iGLtj+wIyclHl6lQpXqe3nJ3N70m1UwZinIM0vQKK7Zo5Eo9MyZKN220VuyAfdFi/0JN84WWQJUlkW6fQ+/GkUNtWWaL/xANNGAXEel0G7qwiGWIjsrveZGexjATUyb/kg1lxyl+VFkfN3bEIQOUSjHBKCqw57BELzbhbGFFxRt+cbZtDPL2ridOtNw9Lw/5HwbH/qCvRmoPBIaIHTIeLwRBW/Y/enFzogxUJ5+j1f6MjKEIc+yVS0mR9zXfnh2jvMRAfHzxLl7dNlpJ0O+J7C9ykjVBdY76V+VYRhNOkLoxUfyh1X5WVaIeH3SzLgn8/lRDQ7sYp0kkydJhqYLLzT6zkKsFFVkoCSB+ftbhluwXLUrH0h8KCZW//+FjMC5JmVKXJYxpXH6qqU99R9noDAJbrx1SCE1lEYkPj6mcMZGmYLWPbjh0WBVx95yXLQkxzTawmRknHFpJeLJ5y5rAUfZ+NJ5HwTKsQBWjTyRyI7XTR3W/n65B0bIrdM5rjuvfVcz0jgc2dK4xuIjfgELDs96O2uf7GImTWE/5+PRUCbB4JMCWou9dC7hPevEBoU8QRq9P/HqTXpDePRmW8WURdjGv2gXnRUB8ur9s+/UiSz2qBrO1esLWZaxu9vvVzAR3IwFbxqRImIhg5bs+EmAJmspEeDvIFDP+2uA8RateUp85GZi06t0PkGGtra9ok/zqMmk7UbmxMkQl80ih4pQwc2nb5eTCaH3jUt9DNkA2IlQhhI0m4xDPNc9z38dYQxPUFIRd+1veirDljL2w2ZOfiYSzZGgyHePgbQSG0RT+BO+OpzBsk4sqpswul26SiMQClDiI1/qzRG+N7VAzuM9Bh+RAl7NZUcsiWVL/355Rqxi9LL3R8W2vCbCelWHEQL0/yVpdCJArv41kpYzCpWwObC2MImc2y7n2kgAOXo09HUA1tGE/rv3pk10Gu+WifCXOIOpvgb4L/aigrQZ8NymBp/RgCy7Wam9UGBalEl1fqfpi/ygGcoF3yJBXrSpLYX4MoatsCWfy7DJTEwg1QM1RFUeYd6YAHwl22PX+WxNsS9Gm4dz6GpK7/PcskDqIhKVpDoOQet9pair4VSJvMRnJVHlQ9txnWbL1oBIrLWDKDhZVOcPIa+TWyz84CILbnicw0HvH0/oFxEBnbX33+YNgovqIw2tc6CjQQo5aA4bjtmJCE/kg6JlyCw83Q8gArzceUUqwtim/ul6GXB4QQXMRI3BMq9KF/Nn96U7S9lFZwDNcF10JksBYKgG9zRTHSy48tr2QwudKidjMUzMqz8rStipsGO38uf+LkibsLMfmZAQxehSXjWXf+QpuTw72AZNd6aneLVzdlzph8XpfIuK+MWKV/iMsNyD4aBbey7Sj6Vk1acRWxJUBsado+0Ut+WzPTRpfaWfLnz54EJEoVR9NxnjaK9M+cHGWy0tx13sqZ5HdYuSsAdbdjud3tqvU3TdFIGbEWQemA7BS67dQv2LaxiJB+kIPQ0IsZJ32yl8axz5UZfKsF46QcNrcncmV4LlSrjeIw8vsgRTc9M1XY9GCw6QrWufto2Y0P3/Mxe8cGUGZV+LSJB1ZPlolofiRBmUOUvZRcNak7ksAIvRaPM012qLf3qKqi0BVhrds/t5dV2qctt1ycAT6Oa60aMRvjeCMV/lxXtqQvfcEjt4q6eU9JslEv7N6VZQqmgvKVWDzsNa7pbXzTGD3nUNNDT4yeulr/yJpGVwLD5HeAp17ekz0ktos9ArQZXImPbVEm8pZ67+1UEzzydkQUbL5PhGwPVqseRYrrQZygRjN7HT9hBI+cveqUrX9FMNXZymrTl7iRxwFDsBJBo8tPxTIRRrAZFVtm5irYhWIOSoGFgsmoE1d4CckANAWfMlplB3nj82NJUfN+/iXfp38mqDr8N2gnWkvRlTpbIQ2FqWKEt3HyO+BNJB6GmxfC4mcteirCziNCirDPRDIJn+0ipK9pMlmqUTPhTu2Q0oF8u4KxAgBHNfQ2Qyd671MFympNfchj7FfzidKsrrUyrmsFIP/45xkY5amTWU7YOVzYIsX71gmfYLJq9OCsN8aV3xaQK7pmGoq40H6Q8XZDkZk/3pXM4jEmzLGYTax0DHqoTAYQq/5yNONYKE3mvHrvEr85Lf1juxLwia+q2X+iwEcFmhtxzcxTp8H0dO4cCzSZQIC9msupZLG7BtuEK154h/ToJCGKER8WKHFqL8my9bMc9N6YgKgN8nG4yb4U6Ok8ea+ewjTSmjTBH5wtN9M6Xlc5HpUoUJJhoHULdL6yfJiRCCQ2mP+oNhi7WJs9P4bIstt8IEOIdfanJVGT7TaBV970WHKsFFBcGDjboJtXvGepodiH0TxcwM+Xif78xUTI/cWuS/9q5IwqazPJIQx8bZARYqBUrd7mXRsPukxVTPKZKiudXThwALZTce4JX9fR8TbKdnRL8pSr7+kpheDo/ChMC0go/aV10h2XJzBz5e/caS8q26ghYAO+4hYAhTOg5dTzR2V+LCoagQaUctLr3wrPbz9DDTLoP8Bigs1NPX5VcKQIDrsyO3NT0mmC3w5WtZ28yS27udzelSH+jj2XbzxMGaLqBmCzhgzCe/QbRL/cWk4b1pyDRPjE8WUNlIebPXpUt6Msg7V2RUI7GBbkhklzhyC+lHfvBOxxLU8BJkMcXWMTeXglruXvncOlU0P/cZDHZD7YuWOOnZ70win697D99EBbmRVfDB1nw8eHwQAyaRbCHUrMmj2d6U9gW5Dr3c0QnjaqzwcMas6CRfCLR4LolFbOj5TP+ifZSQTd4tEUTuas1B67l7/wB4qEs1Gwo6uhITqQQyBejRzR0IHzhIK2OLzn5hY8FMv1U0ZzUEpN+JXNnZMzox+XeNUntcrbl7C6essSmhPtDumlZCKUt7my9NxfROannQAgQVccZ5s6uyHUeiOK/m0eoLefaEESGs1zqxafGiZtf1GpMDCk8chLtCOZjb/PB5xtVXZPNULN25MozjorpVHwk7A2E59K4m5ZkYSk3N3oJbImM7gclILd0d2CsHOH8VHlLeqh/aJfmcCvVvDvo/gYIPO8noJbr6j/Owqhnt+hgWyoEcvIXGkn2qs95prefGMsnsgx1nB5qOz52I+kDr6EN+6CF1sg7O9Y/E8X7Q3wADnU+4dj/Bk04+Jd5XoiHdpaeYvxNgdv1L5iYR1OxXVxnEWybXQZfymTs0Zy0idw/VL2yRR+Vq8TN4IgkR/W1ohYkDlF0h+u6CwHubp5eQLY8vquY8ad3w13VjswqN1ieWqj6BEZ0ZrxrI7/6P6OH5QRr8/HixVG+werEGCCTc++gK9rE5gk3tMQ8WusFjCED5Wldbk8e3WcEiYZNGkG7ea/HPgLdRsQgvbiiwv8TGBOH8dOnuhHhlTCAkfUcqqSYi3qCHohegoqAFkSCRLkGghTRAm/v3dvfiAcgBK7y3sitKgXAC8S5dqvaHI8HajfnM3qw8kWw3mulbwPvbXp1XP0btuy42Cij/MQ0pwC+46b+Kg7y5NelQ2CNCdX18nolhtJ8c8rGjwKISSD4gO/fj7NtsFxbTyg//qUyghpSc8I8FhsoKSxmG2KgpjBDHkooBo/tubhj3M6zbkgSbnsRryiEGhfy446w6/eJnU39p7Pjr+v2iKpWCC4nZDvT+gJ6fJGmSTm4qakB025p4+xYuvMt5gHjGg43lE4oSE8hnLoqFNaadrvHN7Wa+fUOC6l+QHBQCr3lKzWxZvTT5fChgZZcPPg189gtsykBlI+Wc6ILMpfLfTUX4XciPxeUo+Bsht3q/fDEgf4VoED4GnvriA/LjqUi5qyF1xWdLqWZAnsH5vyqJgHffTYXcV8sqpSlAZqqFsCRlo29NHlYTNguRL7VzuojQzdZ+KnzNEcFdnSrjlwGHXNiCvwBCX0K1PDSZ3OoRcp7W27EnC6aK/qHMn6L9Zt+M9Q170ibk+QgFq/yDhDqc1Q6RU1WjCsaacD+V9PInet9gRwGJnktPlZUJkvVcHRIk/sDgYSNa1CXcYMWcWostvgHTpJO/bGf9i0v79c+Az9VhAPBHHqyN50DHq8kOG8Y8S3DTyJeJj4PqsiZme/tq8YgvmfyxKYxYhPH1EasHCh231Z5KNm/fDmtsBiTIak1DZhfFgufCv/IUaR0ftGGhEnd0T8ETop1qpOnhUoiKwvp4d/zEB6LjsFCxqPUIN1DF2vDjUeLD5tkqbdOdjzup4R5KW/4zqOjGWJYAe/e2SrzN0Jcy46zZkvCnZ7+ykX2Mx8I95T2B7znZgqPBCXVEVz0r5zL7lUWwocbffHGnsUKBGsn0nvfvju6RBJr2BuPTMsuljS156TQk7fu3yagRhnRPrarUalpWR23AeDj7fT+VtiVvUmH9Yyr6wiuxJMe0e6G1esBNfX6NwS/YUXY22PsnUefNzm2duLi6++5Cfj0GciJugC15TNha9yNE/o/6cCvJ6ZG0cvoU6ySbNFg4TLmQOXoe+QQgZByiIgj2fFm65wp4AbqxrublrNqDlUlyg9M3A7+AtckviZhZkhhZiek93sz1l/Fqmc3b5g3ai7SVSOJ/KhaeLBTwRMm58MHxIVaKvfv5bMMhVUtiF7Jplj9CFEakU0fjwkPYEc6C5am1laaSXccUgcs1ckCSl854T42NyqFg29bu++yASqIcvWxmVZV5K2DgS6qok3GysIsMR05ZX9G069bWtnM+HL4v1aVS57g4cMGoJULC25euaXMLWC60FYHODQeEcGPwIAQBIRwZ9Ej8LLAPczFZucuyRBsBg8nGxat/TQT5ZDLVygJdnOyqlt0RVia0nl5IQNJ7pG6A6SBu44Zio0aERHkI1zg0xIwU2Ie9H47+mklwjMBwde7+IRlmsP43XGWj250QMRgFtp6QvmFvM5fmWnYqUSTHLNhafDlxW554ECC3AIZchEkvlld3AE83iy1ppH+ItlRuGrjnE+wvbhfpsTgP0v8gOjJL6wWpOiMUR6TW0rKy4xYm2/G0STXLgnWJwKgPkyAwkbB1RN7VC01argq/MmeJFOh8sY2V0phSwxq+Z+dThoRvddPtjgiFRlQDDDKBpHEXJ/eIQRWg/QRsV2wX37rY6J08sAhOeaQT2HSy7TqcwXJltyQan9aSQJ9Nw65Hn9UXkXrpJdLzO2qpjqq5TNZHZfuPhNJW5DhaS2mfnBGE+T5r36MRd5dTX7c7CP0RmaeIx+IJ2DG8UqDp17bweRg3XnxSKUuh38mrTonRLLKZMTd3G8RZu16odS1nE9tGSfRKDdWLDP2WtwOHMo+x7ED86uKBRTMb/x1dVI5nArq8oThx7zDTULtvGVdCG5DMXFDzTqWLAt8eJTZJv6DJITOW4K2oaQ+4vh47/qHdPg9qkalZwLHJoIuIuLZUAJWCifaaemTvvUamhVxaomsty3qfqWikO5btJx7dxAwDeQXH/FHmuX37EiPuYpIl1Ub370Iv8LG8lWpFpa19cNNm9Ye3q+TzK+50HocbgghlsHZ/EE46/IrV9FVYK2NZGfgOVk6tA6vnvztpeXqviz6gU2G22r3+5yRJtk79S/rTfMvPKRR2nuz3/hXretKdVIk8eaGDkCCTqBrU4s8HTzc6/1CsoVmyEqzpwaexwA5t8c2NSq+v7MZVWyiStNP4cG2mZsJMx54bIEv+82ewBy7zK7BghNWTpICO/L1lLbi2HDupqVNsgf8FoB72xLQfYkvw9V5k7KaUDVwVf6Yqv+w5Z9d/Zl1+jJ4XaLl1BW4l2TKXfcrlxFbP2nkjtu+zdxmGRyDZ6IIQoYQswTi33qeX/hqZLREHBC4ejfBjy79IhaRAcjHtQwpO75NNDCvItNGdX4ID7jEUH9M2by45w4bnGhr6zIOmns1rMbkKk4yLnTccK9CW6uZ4mHChetqe3wkUYEFb6MWLIQoMV/po5QA4klVwSITtgylPQwS/1gY7Ldzor3j/OwSl/xvaQbgSMtQ/LQyEFFSF2Vp6nCbkmq5LounylRjTmhHzi5d1WpTZQGYnYkoLD+0xJnNW4f/oqiAtL9LqigGeyJxOPLxx8xnUNupYwN36TT0z3eh2XJWD6rVQCTe/dtAXMF4NBZ3X5oQ6bibr1TdlVk2uGz40OT8e8jFsARAJnVZlpz0qY4N4oMeUYe8axPLFkWVHXRWSuoMTviyX8DAAMSkNOgd8VUMvW/cxTUGQwaooFlSacJM6wDZx3zBuQxuA6bfjaT/ME0kkH8ETV8amxFGd/TKNt95VfGiW9Hm0j98tQzTO6yKEUwfeBk8rX6PWhfj2tocrhibIrrO3eW0zPHkIyr/GUajDL+bDC6b9/OSG6c2m9iuPj5Zww9FCYNgtR47zOAQhSYMd2pqdM7v7d3ggwPej+c8y4tN8a/hST5Qlj/MqHP2bKoDPvxttIAdXrTg8AKJdeLcUygBA4myhg9c4HmN/Q0gIHpJoQh3Lzr15Jw+nT7f2SdijRsUwFOLQc7uDqPtogMcfOqD3C6GPvmF3h/4O5iXtZFZeCjBlwAow2n63sQxOG+xBVhkzE762YE42y+7zOVUnIPSw6+n78Y8eLxNR1giWTdgP3LEu0afIjqbteTJbJ330ajdzY97r07lLsx28817XvD5a+tVBW2LfXm0FpFedttQdpGmq7DwSzj42LFVBoCIuTQGYGriIrYdTHRmPQUkK/fbNWCn2dubvWvRhyxgG703IGHuOFEvZHjzHtynyVaLkhIUqTm+B4xwalcGU0uWhGW0dWiFlYpRqILc/eOcJzMybMOx9WxoHb7TTjOQqn8VuayRQv75H/1m+Zo8eFHLLkBRMMI1COA/fB8o4jJBYbhvGDkOgfKToHOgLpt+yesbzgSWqS/oCtXagGy2CMGMQ/fUhe1xHF/MYYn45afxpxZ/kONVTXfaUiGntJuMaxwPRLdIr38gaLTCIBw/Na5UyFPF0gg/oMolRF+mKGqBHW5+0o6ZCWmRTVOjAMOplHPI1bZLZaakYaEMWg5OVR9JkYTad0a6DXTI2CZjb5W1T7WnpzUjVzXDjmyoWnpemgHAZdJjBPu2n399IEoa9KF3bLyLXxLekLBEQ4aYG5JKL9r1IWs9d/6CUhKZdkbuWGZ38Jm1FianLBIVbxEv8w0MLYaE1O5u5fto13f4ZCgvSWiWTU8377N6c8Ncb35q5YiD0h6Rj2ddmrj2Rqs5jtCQDs3/62UZYk44HVOUtG0pFAlSvr59vBvyP50AknQtugwjZC/LuofEMFnpghtOkopgVo7P6QpJ/a7d3f80INZjStDTdt+ZMRjyRTUzY23230M70dzevU2weUUaCnovozDhc1xfJQfNtwOhjr/U03EGyGdnKNtQggrEKyS9VYtfNkd4zTaclyJw3t2JLw4dnJz/pk7VX1BXd0EweLZlxHxtTkfg9oQUawUb/7g6kqZmTpMcAG6cJkfUb9viJG2tNqkvjk/EfCpZFgJqH2QW1CwXn1bYhqWuWBDxcGCLtulhp9JzqMt+4b9qDv+uzOtGTn1mBJijZDsK8sacyOCYtvUh1WgVyMr4Fd8+d3/r5wv+4NIC0ysptTUef/g1JVjjbS3+vFJn7bKmCHHYJudbXOyBgQdCrnhtdmXmKW4Qi4tzEBIiVPQvBbSHonxpxlmkoogPLJ6U537NLGl11P9JIvSElIG5FZxIUYr5rLxxhjOPdlnfIdSEKkAMMo1qRgHVaWXm//dpXeK0ztpeOb8Hc9g5M5TSLmU7q+Gkl2fwgqRmFj72gmcX9dVQJgOzGM5OYoHlQq0PcWLUShOFhuapBzdQlZPECJAdgUGSa0avljy0B8kscuVPphRV5hcljrIUcBj8NRl/AGN4d9eYC0EmpM9oz4v5/GOISkUXnjMhW17+L9nqbvgYtSWA+CcwMcDMOV/3WGuPXCNgwyvHCQYTjGt5Hzzn3tO1KF+8k6vRa094puv3k0zomklRRDGZ/Nu5DCUOSJlnM1SjBFXJkqd2DKhrxt8+WHnvltJ+PQjSamRKTH+BavNVc1KiSQu929QnIa6SEFvZy40Cau2C4AHdX1yEtsCsWV8CHNiCMv0fuqkooyR4cCBeKuFYk781MCuzRDfI5/CCrfgaHwFDWdhXs/b00JyagKhYJ9pGqc4HCQDWi4WuObhnCk27cekExYy0vWfR3GIsFeGaefO96Z9dL7lrj3v5vEa1I3+uMeOg887K1eSubjQkHVnSGSlbMcbFsa9hZdCD5+vvfOWe0zswry33YTM1mJEBFEPkUhX71Pc04kpLSxseLZJiP49YPMBDsuQKMygsPI3L+bSVXB2HJsHiuN0Joa0LqwgRuLiQ+ZkD7Bw65hTS4+gbobgHXWNz0UoE+CSmXEhyX8a+ZWsPt/llFT/GoDdkWV1RwleO9X6YuTCHXUVXWiOpiIcCLN0H6MBRM5N2PuODA57x16woZSm6KZlo16nJyEfuCDikaToEqngOoyu13HpHidKi4he682FczmqkdeoT8iVbRpMcEm02+3SNmud7nHb2d0xoXd6fSuIcdGXnC8CoT5QEsWwSwkjJjbIAnKlQyzycXGGV0Fs0uqbQCaE/wn8NmIyYJ+zKT2ZLBT6uy07FpDFYrCoV6JblHDvEphTZBef+V0EB4JMiBsTK2brYaKoVSfumUl9HrYNsAbouSagkeAS+stu29Qb8R0pKIt8slPechiEzhufkoUDQr4UUedN5lrXmaJ2dkqZnK9WXqwnED99lIelDhHLnJFsc18DXJD3Faww4y5GVF+QqkvXg29pD1gR18ENOnLLLdo+5bU9BzxhJ3OjuDDmGiMAFdFjwvF41h/QhcXs/8Trv+X1ICALjkMQAOK1m0WEk0XrYmP6phOX6m3YJfx6SeFNxAy+HeTOdAn3QNNZCSq80l7qLGG+abqT2Ywfu8iZM1ah31sHJDcI+p3jBHMGrX9Ynp8SebuhQ5SK0fDQkQDja57GzBwNzK3A50qIVLuOUaN2v8da9yZRLYGQHk1MxePJV6ZjASgjYWqYCApcaPepDz44dgqH5A6zI6S/qRDhzWnJMw+hedJa1PitAC/lXHdGCofy6lFqFiSEXc580SoziwjEjGccZ485dGffdShJmgrwbGaJAlNM89h7A1X5ZKzht/kdnejTDVyja7OonlzP7F9uOkB7IuuTijruug77J9R55CiMqUCU0A+T5s4yRvs4HdUHY88Mrw6uv+05PGZ+mqV6d1uvU/Pe7UXVWNAErPMdv1NDllLwldCZUYDibCrroVPlF5KH6lt7KgKYJAkpBWFNPF77Kg4COqLi9yi3zJb+dSrURT0YQstDJvMQ0oYz3tHKyKIdoieanMPgjmGObSwm24ZvzemRj6rBLLwfUdMbh1/0hkCLDRzC1GrnoWlzBAgslbTQDAqOZC1cFCIvgwv30Ge2eNwcN8g3sKjeGD21GZIFVxLR+/x5z9CuPzHstSFT9NDhDXanzWdzj39pF3aGVJ2zyG2jSduYFayb1lqbI+MtN9m5yYCO85ocfXjcOv2pNQzU9U+gCOqg3OROaZpSWkQGHEUhpq37encOjnRjMZ6VWywlibxMtyCBjEyVWHAdFwpC8RcDohlTHxQA3AjUZUJfuSVjhfLM9j56CYkRNVPTLGHWuGpKOziQnaFcUJiO/1cfShfQH4tfCgHC7J5TXapYiIbIr3jaEYFdcITbl73AZ7/8/XWTIndWx1TPujGUXryh3rXOjJJ0ItXyzYsqSNoQ7hhv6CWKQVvokxECY+UkRzVYlY91hlDgW/ziUNS0FR4SANr6VfQNWrz//AO4hq1Db5n/WdaGC7qIR4icTP4Hg21ou1DEtV7e+IiloaNoKtA5fcAfUU52wi9/mwgwoBcFcJgbojBfWoun044hbV3iB9qQQvuL+zVV6tvvI5pIr1XQA/L8QOZsaA2mLZF54NY4nIJVxTG3fgFXG+v6G5in347ALhc+B8bpuL0aXmz2AquDsKZx5TkrCJAU4gvATFHDisJMOWQHOG0q4DOFvtyUFIPof9mdqXz8ZgJp4LHS0LDLovb0P3a9kHBUVCR4gAObYisp8aFr3KNcZmKVkHqvb7TbHvJ7mmoFHVG2moZ+bJNE5ASBOCQlrlTRkZ+RJS+m3SILIjCydrIATwwHIC+Yu6gzAFTC0en0DAxRj8cAohkAPMLaloKCZG/aU0LIkBlrvBEGRNTk/fUQvPWIK7pajkrt5jqueIRfsm10Ck3u1uqxMhnETOv88sdbAnP8d+BO5XXnp5l4o1HJUZnTpGv7oje4BLDGPl2vTd2jxxJdgWBNLl6rEngzVCHzXn81RUNVIaMkw7CPyFnk4eyGPmov8Zfcp2ZfEb0i2vIKZmOxRXjOlRGkVU94RkRAN+JKKI1S+2vfZrwWpuYcjPy5Ok+c4DDXiusBkdk5/M0SzFPgD/nh7tBTBFa3u2V6K32R3a6/5gRzJr4Wa8q3kLPc510RYOLz41mFkcj0XGVT332p94cVl47fiAmpiZ3J0sMcIeBCtzaNDq/hwLmXYbz4qyApiruD/+7NCZxeKQyIrRk50p2YHW4mKxiU+KyoJD5c2cf8/EhDNXSW8P6Z/85dxUN7nMilNSI/icYsLCtpq/UeYYRGsu1N7ewkzlzlRWqtARy+qh1FTnnkLQLKAqYaF3aZPBUiEgM+lAjOL69u3g9LeHy1MrcGKiuneV7Sq7mX4WNEUWgw9yA9IIOm0dovHoU7K0yT/g4UNC5u/IO1MmolwBaeg5/9zHZQwi1LrlGGvs2ZywG2JttFVjMQVGmQ8W1mQax1rk9Lq1ghQ8Xndb6szW0rY8T7bj3OUrE4v5ZhEnCRnY0dKgAbNz3NxW8ZIcfWCK2xxR2iWc9JvcCSJ5JfnX23FX8PP5WooUzE6Zq+oJHiptFSrCiZooCITrJdZfsB/t8B64WLb12bHRHmc5RZDHQ7FzoQFqLoix0d25NEDGqiZFIA+5k/J3ABIxg4vPQQsuTxhqIPkGNOZutxJxxrmh2NNbjtWOX82g/BDGyEhmZm9bn+EwwNKM1OvcvlGM8p4vWKdBcsz2LT4D9JHugeedClFX/CXMq2YmK7/rx63YhlQ+2TMrkm9rROmhtn7R6AvZqM4jrF7oX992HJLBK/mvqYzGpfFii9Ygnkvu/4Ef5oO4I0TFoe4rmiZmMZcVia9uqL7Hft4LWwtevOJLr2zbkCiUR9l2LAJGR07LAtrD2oyGZmdBRq5DHLrWNmUDm6WY7G9Rw0OBHM+svROC+UoV5f1J0igGQKUlFL97MAKsM7Rll/7wl6+Y7mrsehS7CKVoggBpkRPci9drvGsRSBlYfJupayIPjtqNsHIGCUjyY4qJ8rbf6IaIdsuukvh5z+i1AIi2BEW2qtITmdRhNfZRuftgYbh35MoRcKubbpfuxRb/D8SXf9D0N3/nNklyfCELqPONNbDwcElVvObBIE8rxNGxvCqkLCnJBaxUyWfizbP/ccnEUAwqCMt0Fz1i6Rxi6zIfJCXovarH3/IJVbuw0oK0e3VSQmm0dFBwogKgr2eJRgUYJNdMsvhjzi26Fws2a0d4IjM6QLq0qf+R+6B9Mt+TV9zfQFE/KsaaBHkj1BU5EeKNf1qQ3BE/QiN9lriRQEB7d6Uy+2XrVufyezGKInbukKZi+oNmxTR0Tzq8PkgMGFtvon9Gvx+tGhQmf5cGk8uL6UHKGl3PiIqv+fqMYmq+t5Lf32R+7fHEXRfNxvrtoJfz6FzSQ64TlbvzzGGmaNTeWzCIiEBdRqztF6Cq/tQJAlULjM+KZ3HQpnFUzOSUBNKHG6uEImSP4QjrG5QIloEu7fwuVrORbUC8LE8PjYH1co1v1pfrcq/zGmeqzmt5YVmaKpoQg4yHJhvI/H9wtcxosuBoo/rx7An1PuE/y/qxY0qm4WD9iL3x0uZpQnL5Swv7FD7u0aDMZiCLrPo0Ze39/WPoR4XQBm1EcCkO5441fHYG11fE3krUXYiwR/CdB/1NQz+kA45jfDri1qPp1n4w/Us0zDqS3Z/UQujovvCUC0hAMlue2jj59LVF4fRnnLsFmY9iXIoxZrDa82EsU33RT6zIMYo9PLVRKuHGCfiKYsrmTWIuytVyMxuiyk5jrA/pfq5iM+iHT4eLESWG4/q98BNK+EArpre/D+Dvp5EOIAV6BLGdBwjiNfJTyQr+dxLiHHrammEx9wS0/rLOem0K6zrLe5ZAL60O36kx7sERxKYc9ztLRXTLQchTnfFUBk6dirMECzctcGAKN6I2EPfUc+DThz+5UBlA9enWiO2ntoPup8eh3dR9QQB41VfkW8WaMTkkjri5Vk4LNQL0Ddfa1Tp/KTB8l/F5xrkjiXmgM29K4ENuoNYH9RXuctPd8YmiXbR4HBGyP+oj9LjYMZ0JPqLpdYScKvQw9I4kHdYlkeEOlEo03twCIUiJXiTC6ThuYJkazFrsewAI71fCIt6q7TXDdWxLnHRGy/ArYAJ2QFHr/EUQ4ma6oZLAGQK3ywzQPC8owKugA7NkK2/4tHpdjDUuLYRAWXOz6UooJk2Osl2/MWHWl+VI6akxAHA37fi7Gk1QpfaiPmmqETGRnc7g76BvZ2Ej9sZd+ToNp2216Db7A+gOujxl2EBIqh0O1o6lSXdhX2w5Wtc9TsPBXUHLYxaozEuw5vFXwuHF9OzbiENvfSVLqXdPJzBge+OWlTJK8OmE7/j11ih1fuV1xIoDvdXfDyOVPuhBSAMORIvGcUX6oNcNuyJHVOXi/QISAqQSpYwr7UZaXM4YqiXA1lpQLqJ85/mV/aSdHMehJ+pzDjvw9ImichcyEOWjSI9h4mZYywvVgS6y54q9g68zs4nroS1RY90IMJQyL+kDYoGn7EPnJBhyQptq8vcganN60ML8lt6mA1rCc4RCTXrAnbjWfyTAtItGNuFu/KR05wfJ6Hg7voFc5LkH11cgBurIKjlsA9W+z5pzO88TpxUMKaE8yOtqC4EdEtExRItosQs5QEV58rna/awPt2MpcGQMHkanfhFWyQegoiNdlRDoFZeQSp6l4pA/ZruzMo6DH5hjigajXb0btzuvGWYWBEeqqT6d8glC8sC6YF96Nr9W58ETC+5cSgz/Wi1t2JHJshGruxukNkHRFG//A2PdAo3nkOquSSK1Yq2v3MQHeAq+dQ7DZ6oS1FxUOQ07vDPMDQyV+fkHHjtt3Jx7zEVTi4OvRGbbn0FnGylNddIfUAGLlcO9B7QKmLzBoJPbhOjhSk8zzD+8TQxAGsTqFGX1AOyUz+ScqscNeVwpOdsU7tQYE+EXw5XjA93Mq48YZjnkZdH0TyfuOkPNl3gvkrwgoTGMjhxEsIiz3kp/kLS5dowm8qP/eSiGQStZs/D/V0WLYql74DXvD/hKlKEG4mVaGI4JUOme4CPsJiD16EayQLq+PsUxEQ494vksJMs7gbPuBh7fNiZdZ1cwLII4de84AX6wHYK/MpoUhmHisOxsfMjpihOElRxs0UyUGRdGfJXR3rRO+r2i4vBXx6JgA6kJ5T+o6VnWRCp6W+9zYFZLgpdU0CRnORvGRGPKGveLmQjCBIrquTZneKxPcY+GE1WVk6fMrfSffcfERVOnzyGaNtihbRqhko1JiC4TNhiwyhxrsMTfz52IggRpUSGHAyj/EVg4dpdSMK+gTTK1ttFk0Ob5FVhr9ubAKQrCgyLDanM9nWDOcq+EgQ5nARTDU833WemAfD+EGDvw1HlunGTXTsfuiQYUJzgMgf6sgUTpTcoVqFUJn1fdKrVlTWJVxHFQ35eXVRDKNXFX4Gyqf0rkQGEHdBNsqG/MFdGh1kJh8yGfX3vOijbU5EahYuzYCkSZZ+3Ptsyn5+jCRc0l+rEWOiCJ9vxAbxTcj5AiiJ5rJpD7WG7yaYrR1Ydl2YJGnTCakAhvig34DPY3Z1+FD+e5p8AdOPDc9LihWM/TyW70rYZLQJcI6YKxdmQtHPAI7QELlQFaWwZLEsFiw6seYS6KllIr817GdUAnUQu5s8ntAxQpx5M4QzfNeBbiIy794L1YUEBc7j1NvizVkRvUC/P7PIqPe4G41SM3Vc6VK+CDeLyPJCDQRF2U7+/PMtw+OqQtawJp38yPANl5wX/cwMJhTUlB1sEuU5EHxtS3RZvM4pkSi64h1/2KZGWGTdechqw9eyPcc3DpL7K40muGhVbdLVBf6D/sydzKzh7tO2+qukIUmYQ1EBb9j32P6WxWUJxTVsqFY3Iw5puqLhtYkN8rhcyjLBv1teIdA6913nbFj8PfO6wfMGRiQHsuJW119updhHYdWuQ3DZ7U4awbeddzWri47BaF0l8JnHuzbcEAhq9/qOsaRQsiwu9uh2Rzm6+kMSht0sS8WxuWE6+t26o7xMsViR8Yfv0u825R+kX7WiDQBEmgRTVme6WxgasfKLPTvZy+i7NIGPTwyZn+k9ROgUC9kDm+PhlirXFxYjrBTARecaLKQn39wTx66ceHlY29LVMuebHE64diFpg+91DsBdgdXEQmHefMf27FbxpI6MkNNhBINXtQDV0o4JvqzJjgL1decvPdkjGd8MquiA8FSy9674fWev++N9rwKquHrBmhEgD0Uc+FCwsTGMuGRD/OQUWZyR2nOWHeiv806ufHbvxvBgx8Dao4OEfCA7IDkXgvkfh32D/gargcYfnMXaLOvdk3iRAVAq2c2VFWxHIurUn6cIgKb/nB32aglYUKOMcdkz9S8l3cWmdIhxHcgYIHTHf2Ek0nmzxrjz4jng/53LU76pEJiHfyAhU6BB2ZtDIuueADV+XmI6pI0j+aGV+Xwi7zYMl/DcmlmzW8w0011nEAbBecng9JcwUNwSwW24ZeCanhLeEp4gQBXWu6ruvrpA+TZ9Y+1AThrhcxkmxNswvQeetWHnXn4vWD8JloCW3d4dpE90F5Ydv4wmI4D7XVAjAwsBhxrYkiubvs5hVNNIDOUJkjsSIPqcgQuC9c6YwgwudPo9QK2sM893/gEwMSCcQ0Bi7XY75sMmD4B0FpWi9bschScOFVfgV/hfjVEnCwDx40/CzIKA5MLQtQ5ZS3cmfsfcKa8GhOdMJ45wokNc7+eBVb8rJDVvvpfTN0dgfhSlrvQaD3d+2kAvv3UrqSI1eR3LPVwu70P0CvW+leuSe9Hz1eql5YoUB3eyvEwtXtM7eB/Rlw250kVCUeHGETLcce9h+/gV8YfqiLthjoXqcxg2X7bcO5b2KujAk0C+rWko4nixd+jnmsN03w+TaTklxsfy6DlSK6e6iC1ChCb9xFQoxK4klSca/s0caqjNstdSk3ZxPN2GXl6cIm0awKGftPY2naPh3BDOpsfEiUHPTkn7GnIW2KPMqEb/8uSnWYUW4YvExx8XJKlINJNuLdtlGXt07k3HhtydZhLBUEt3Fq6rOoThk6O3GFmReHOGQ1O/lqTYNVAgxsiv6SlIhcofEQkE3Vqv3Hq0XCtSVmLB5NMaOCBsIBNjkZY9h3uT7zFCQU+zNi/yLVZbFXW4ORxJ8M9N3Q6yQ5/4aA2APuiHxc+uwr0SXJFUd84eTlhJX5gTj/ZGjo9skU7kvZ6UTrlftE0D7OkK2Aq+/YWavIpYPfRkcMRsZ7tisWeros4aekO9jiuJVJl4JH6MNKBAgOMYlkf/zhWHSiHnTMtvxv+VlI3duahWX257Vjf0Rp28mghvEFhgNFx3fNGMSUMEp6l0cnApQDYKW1ZVSantFJdxE/80w3H/vVwZYLvdhCzu7TWIGF9zqMbbsjEvxW9/bl+A2XIvZJMYM6NJQ5e1SX+XNjwBIN9CtTg/9WAlw08IIezPoJF5nk/7dMNqQ+sssbX0eXKuVHeXAjYo/eYPaltZzt10O23Gu7/2AQejH5pLdxf+51wmhn74s1KKvlDs8lGSFGxYfdYkr6PjDbOVVfSZHbanJ2x/oYUwKcantotJ18CakQUVd480aBa8tav/PpST+vhzjR0BHXhse+VXfvrgpK/XJijIJcS5sW4mAMjwhmot8ifXu0Z5LhnQKfuLtVt72wYcPGQReFIsxhN71xhaB/rAD+kqcmKbD0d/QRyJq+1/EBUwx8+eU4z8L15ct2rtlcknBsQ3YSczmbrcX/b6tx2EGrobWTUigyGJNaJSh421Mb1SYAwI4KtCQEle/LI0/w3uasAc0SP00mapQL4NARo6uNpXk6OgSvf9a8vktZbxd76tQ2dSzHx2HYZX+6jyiTQOl+zhnMhfNLI+RyW2dvcJ0ETHvYEAGSyd4Ql4s3xBetoDpieqO+760mzUIKy7r+b/HPaat2bZo30f7gympn/c2UiKq0fRywP3oxVuWQXKdId7LlJs0xTR0FZQlYcj9O7M4MbC24TT3Li/uKFIwSLTQNWSVdP2V2JidZFj2T6vIBTHH3VmSTELus/LWpwVSImzEO8pOcxwQeOMG7/DRmdeK5oDTlRCaTHIZTaaaJNo1OH9FrnyLEr2tlo3fiP0teDLgSSJm/wGCKzzmByx1qkpg2BhvU0PWsVPWZDWkH9QgvkgG8Lr1ph27LVxEIBEu183S7YX2MHFrzWHGnF4j/ZHgTk9u6HMZsJG6pQ/BnjK8P1P3PWONxZCuc2Vze6+XOOWNAd8Ts5dZtSX37EeLt/4NYro3Blologc4OYN1o/o1JACFiABH8S80IwhP4LCTXmlA9Ur/hvw+yfFOvYnWCC1+tlp0HrRA/7Ozv3rAQPEiLANM4Zf0aHX0QUBXe60ZJ/vzDTGbRvRlMfM8XQfyz4r3ZZLwErxdFm/BKZ90kFhrIyV+ufZMfCzLgW8Km2gHLkCaxfdyjDdRqYd4fPckq7cQvrUxF4rXs8e386AXQBUOGsnMa5D/CAa3BMmRQDbFqRJD+9kYKghkLzqN4M3H/KMukf6y9brzZ2SHeN+zKUwtqnkyvOzwbOn8772qcHtANYuYqRVz0cHs7G3CCGaMKd3OHz4WagcijAoJYe02+vjjAqAHOShDIW+H33zp267icWnF7xsqk7ubrjcyw02wvnVNP0fjprfD3+CubwMAuOiZFFCT5aaNoXL8i56IksBhfaoAMY8Y85+nHYE75qIMFj9ovbz+F1c9EhISRj6ha8uXqy9bBic3ThlGkYRZgRSHSb3jWxo9/5uPfB7Xe63mw9tPDG+l0Wx0vbtEMpTFo8KJ+rpn1Bv501EHV/u/sCOuyZS6JL5mATvf3u6k8tn/6Y9zhlShy7+Nwdn+qh2CL+SHPGTjClk4CbjepgptYtDKdPWC0lFyO2q4tX0Slgd1qZO0L777c05xgY/D/IYaG9FX1NeEwjbAZuRltcSXMc8rX95gJYLYkJZT4V4mNGmNrPmaFbqkkUmqJ5vYJUaoZywMuuyIbgS3iBPjSxuDkdSCPLcoDms90U0/Ytnlb8aNQKpUQIiw+AcrJ+P9jKFc6wvDGnB9aPVMkOHTJDWhoaqSXerVFfv22ldYsJYTjUtkZ2BNqrW4TqhPZHYleJNtZyLwTKA9F7V0gpgwhBEz41ZV8T+eYs958KrBi9YNCmDykGvaAoPvt4T2qsNcwoWToALYIvWmEZ1L97wiuRoM1jF4vp/yVO4mXerYdy+iyU620MH2RUm5uZCXOoYpx3g2NY/hqdHnjmLApVA5luzqtlrL59BcWKdoimU1Lyj/+GRuHIMBw+itzbGk7YcUMLjDFRCIlXoIEjeps3LRUlARL4NEnCEzct5Mu3XHp6xM3ZRGvT/lfQ7e/ID5bdGl9mlcAXb/bAMVqXeWZPjfUlA9VKbyAd6Pc1lg48+pgVydTfPkwWFmkxm+ixAcIShYM0kut+yZ0YZBiIRKQpwepFzFpy0pSKjqpg7MzgTnKRBFlFu/zhxrzDZEmpTG2hNtrH0yclg0quoeT6raE1Sssutp3kFC0Ys8CwV9xxv1VeAxnrZb72j409GRhV/RqjDPnTXBaeq/cxYsLj3qN09jje9RKCagqVL5uB5ubRmfxJov9PyeFTRXZ9pU7ldN0l00DpuX8XSM9TUXSMczOX3SjisRzQ9eJ31zSkj1YxcriNqJC2oMm5L2T14uQvH40SDJXwxBGgPCfwI0VBuWA5f2xXsfP89wkMS+tqMdFs3gxr6m/CEnLiRMWfmaAaiQi6Y+os1KEKFPbZYqWgTZmJuMXYlAOkxNWNPA1MewTCjRdBqxXnr/HWNkbIPEZN1QeFf97hXdqmezEDXYSBoBPTYURvmcPeFPTnnkXP6/u+T2pIc7smfxIvioNymxeFXFeRt5x9QdQEVDEPxsgS5IC+uhrc/m2nyq6Sfq6orecoWe0Yt8qjwPojSCLY8qFmAUysEocy/m2IYSRQwUXyNPN9+Vl6rQth7SdbdxPVO/Aj3F9LpWF7IuiSrR8rv0QICdWSD0b7uHTGs/XAt1IoQhEh+B+XWF5mbJJl9fq50hXibUgJ97XvFRQVoBUA6ENBERbaDOs8vMb4NM8T8N+R7ANxiQpuvT+6ckIUTWST7yLA8iyRhzYkl1k3yjl89a0qV2d3NylSSt+4myRCIbwtqxigP/WB6vGbSEhgxj4JmYjU8+VmAL0wY583hWXfWnUZ6gikKxDdR7wVAK0VwozX4OPPF34RyR9VrQX8EMDuOuF1wQTPJ40qshZlI69dx9snsbkk+9NlPLg3CGnJf2Qi8xue+XdjAs4V3yaYAkYeC3XARsYp7nH6ZP4JBYjgnvZR6seMuDqCpAf+ycZlBlkz2laxS42b7heul/PgI1h78mgFD4o2jZMv/mCmaEgp4GAtlOomXdgGxuKVFs1RwwL9SPDGL80tWtcVtUNlzjT44SEjwoYIp9qF36gMsLhoHmBvMgJ+jslx07UC5mbwoZgGAOY0yFAK2Hi1C82jguvR3e4BWT2bZgMY5iEfSLEBFI5zkVWEPUGS++0lQ0ImelLaSF2GECoGRf2T/a8yy0L9THxWjYakux9R6hDZ7GKFV0D6JzyT0PBC7xEoWs292gYVOu3C9Ah0Az8KI615wL9HIH/Tx1YkTN1M/Q3JzIiF8gGQmvF+pSv0Bqi8kXup6J5Zm5erELgElAQb7U6dFJ0eqXyKJ35bSRjl+N5CiK3U+Z8j+mnPOSSu46H1Ae53g3vOfQKkJZkNV+gZwvBF7+p44Awt6eAfvyPvSYZp3MZju5RScvLL1yg/DukPYR8lvvnucb7qi0z7200PUF1n/QaQKSEqMT+15+36Y6UqmYtQ1P8ta6205nKO9QIfouSKryQv72VlkaJgx4Jrd5fYNVaLe40eK4te/uriRlAE5HMtGJsXAqmxDaN9X0qqEmy0oLQpua9R/2rDjV3ioF5UaZa49AejVCi5oRkq475DNuI1jxZ1GTlgX2mpfb9nHny1gC4fkodNLhBmliDAoRIjFg9eOH5qdVThz3aC8CdYpiVXs7E62Im4l7dlVhHcZR0xKVJCKTXkZIIgbZxOarhj35qGdSvv9mzfuuYd5SNMv7NunJ+wAZWm76uujF1uiFRFSHf+KN/TLRzqvMBPFJrZp3xCLydIa1tiRaonuQ2ECONNgaCDtlZmRHAFm3PX2yhyqfjEiWwNMu0bi8N+ztAemBTURJQ0RfkvLjhVMjJjd13TvUVBO7lspV8i8DNeJ5GZFbKKwhJAdJy1NpMqKU1aliuhbAeDCTMm+ntRGxM/owpznHNLNXc2Ua3g48utn2B59UYp7VEevc8Y5RWMOYGclUt+wvKo01zwFGKi7aylrq1lnCcEGMT/uGmNVX6SCzumuT9TK7W5YlxApUe22qPYN4rglA/NS9mKvFqSZFL2CMz1wxzqH3kPb1HsUADrZzubbKcHXD3Pio1+lSujFp4YCWUjRd/rhY6CbqPwE9twWrFO2kkutyoGAp27gmiTwcT6ZAmqUx8J7axMdoTHvKIiWjZD9q21Wjw2OTRtOI2F5I95K5sl4UUIUKFw9FsuJra0qrW0ynBMfiOyBG76pWIVfc5ocLkJ3clAxuvdzkxnLQKHFqh6aqUZHYi8nDIazii9NVgKAu/Zg/w+aOYtdtYwCUrGhD6ilFJe2L5AI4ZmGKf875q8Fzo6JT09FyE7XcSZrMpHFL94aPJjizGdZMATyMENut8lZaMmwmNKLgTK6Da2JnDGFDM6/9JoMP0Ot7Rlaheybi+FEUlbFCULQup9DHvu0xF65qsYC7ORGdfwhja7zzPiUumVujSbPiLG58kLyQM5kEELJk2kuZ2J1zxH94UnXTSSo1m+uzporjeTscAwul2wWTF0FXLu6z/5LwlZTCxPrrSFOs4xCjhcFogwGrL1ZK3IMNyq1Abeth+Zyry+nIFc2DL5m3hA5j83i63eR+vCQFvFY5/U8S5dHF3J8TOJFYYJ3wLi5KC8iNG58qIP4YdSomMUmA95NKk/BbqiQ5mVHiiW9Wj66dVAgT5QPYWyN7uAsIQU1EdGTbZ2ZG59MwPSOPL0AZlXH7ArHx2wfeQxTeubBU+ULT6xTiWGBt95eaRr9aVWW0ic6+qFId/Dc+DDA2sdGa+ppok7rbvVN9CTJcCL7HzmLNdBq4uclDBEZk1oOJJDKHsVN85jDn0bSm/jEhbBOsHrerjSuFzy81fhwEdNUQFBLL/4b4C+nxXpUwfqx+VQ4VMNaiK8JA0s+yTYOyveDJ9a5tC+Q0K4NS+8Mdur2xnGQy8JaP/XiXcAxOTReh1WqumF9/m6EfXXzn3d/CZMzWT0R4E/kwlVlp5bQp6qzzZg9ug4vHegKSP0cTRCLeLFUF4nIEJPNx6aY6H2LjS1Us2JZyty4BjQtFrHJnpSIENSMQenK58BYDP7nbfAHNbbCG0pzASdn/ob8hHtH9N7AHCwPJDsb2/9bsetFt1bTbrm/wGMyubzeVwELN9k8MeDWtrLQUUNfPCIEeayqv3C2oHDRYGsm95WXAfu0kUU6FJV4SrdfN+ytXa9sWKDwJylM0DmHBduYtX3jVu0SD9jDfjpfS8T48kEdK+L5XWeJ4gr8xPq6Fh5dcLRZmtbnSUStbhW0TcZAHcAUVsC9JPrXPBuvw5Tdr5vRpqQrhzFjWv5KqmiM2R2GeMJPXHO+Lqhw9TXwUbHNZ3nptVouul5oxRhXrqdQcvwMQyzlWFRYiv5wgaJ04UfUGrfz9N0YD1yr1A/pLmczKP5R/ebdiaYtw2N9eV005jkITvxB/OkSWgnIfw3IHhMTJqiJMmPDg3+xpzwdPiCl2TZqw0fGOuwH23hCpTPfc1ap/xtVuCIeTbPEf9T2g2E+9PNTfpn7zg+Z9pVCFB6zzLb2ZMBV3J04bkYIFls3lM5tGcNj22Eop0NjtvgQo3P2UjZlTYqCGpS6p4X1MP4pMPp8F0FZcfMOOmUAZHBWf/0xHZsLl9HDv0cQzwJdzdR8N5D0XSyyEjg27/Z1a0teGOgm0Y3vW6h6bM9n4D5FqHqppSvNVR2vWGtj2VEo8yI0jiwxsKFOIFXVTs0xqfqjHgBi42bPUeV97tcnqJLqX9ItPMIJh+kBtzYpeFkekKYt+cp7zG28prFXh2qxbae546SS0Ee8lejTGcZsX6O92Bd9vup/eYOFE8YLnNbsSZiN6qaiDFhN53pPHLcK9vmNeGeGeWKVtqR9XGoaPMTQ0o+Hpbt8la0rsqP8hcwcV2MKDIx7ttPCsnm6ZPupg+AkIJRuDDT1qrR3lusr0/t19eAbhY8WwFzawV6gmKktvBaLXeih+T4ICHKFXuMDOChIcJphxsDPa7J2vzyFRgBzvl4jdPZXbIjPoxuJnn0blOPC+ZbsRnGektVpT+Zi4S5Yf06KCEQ57zxozJ4onZgrES1rKNXXVGZjL4robID0qke/kfjz6tNL6iE96+VSK4/GIHLfXtdP1e21MJS8NFeMc+j0ZqB7GlOXFhtPSUD2lz3TaxSm8XWezdK80nengCI5LKLOI8h8VbBIl+6+3+dU3tHhi53md3slHuJKM2VwJhNsU1o5FT2LE3x9e1xsnulUkwjMaank67wKe6XfcXvHLFxfgGwr8QzK1oiNjtD25cl+Mi+imcC88KvS0LNzAcy2jigV4tuwQJyWJBZ6aDtZL+WkPU0KCNpvp+oE+b5gN7BX80ZkPl6LQmg94w5JnwMx22XwMgG2z+vvovkyGmKPS89l3qyyW+BmIz7ASD4aDmdBXMPFAM2o2Bo09SZVg7z0TUus8TePQHJj7vPjK8x5zw6wkRazhJwTSjh4bn5mUWVHTZVxlNIlpmuVmVAGWO9wkkdEEVJUSQPiOmDFoU8MLuKPxLKZvRVsqy3ZglVzft0mAhjCw6BDYD4YQJhzpeSAB1bok3PLGGwFTHAEEtjeiij0VyvQsh/vyrk+qby1Jq8HLm2fw9Gxwd+f6IVenoiSU2NWmnnto7OnJRJfCTqY5xkWOFZJ0nVO7Nd9ZM8gbUlws/6vMI9WTAMX0s6bOWnZtRkge+2cp42Fxxz0oiwfpkVyU/iJy88KbGtnn8V+JFs1lR0FWvsn87AtG3+mKTuQzC9cYC60tKD8HoaN8ppqpAnAV9oDMFK8bAvcc6Ia8ogb6zWouu8qW1zF67Lq39eIVhubX+LstmnkE0YC3O9z43vfi+GKyGB8dBA4wGKdn8kpqYWMUBNaiy1uicDspNvzXvxRbCqPnOtGZQ11gwAfUWEMim1QF6Aa3a2l03w04MNvxDNkRzeRkSDK6UtNpnDEYgjiyVpRfLPzgBwrs95TPFANvKv3+p/8LPvpMK/iODN1N8jvbk2qCiVJNJd1wE7pXGcZeXkiEX+P++LXreaiVkpqcBfv5uqKo7q7XnLzfh7tRwMHPaddP8aF0Qix2bdXdvMIjuE8Owne/E0jwHft3d8b3GyShkRt1egDEH1GzB/7PIYNPLGPrXzDoFJByiyUrpmbqbax/CgEW5qeW0tQQjP1EURhlJGqKPCGxGw5YfxwPE40G+kTVd5Qy3surGYmB22on1qEBT9HQ9yMbXLefVgYLrp/vyW1/Lh7XaJ8I6LHvwFqx8DoiExDG1cbUwyVa7IyjrAWrxzsIH3ML/cK4gMlvGfZ99heEaNlEHvs8oJfEGwvYcEBvEn1cWlkQAWweoRxS6mjT49aWvMCqw2dODUeOWce/m7u7zT8uMPKaOaBCc/FN3C2BBtPG/zqNW5Ld3tA3de9yfV9rWawwz31WVL2gkkPAMVAdM5e9YZfE/A/Lqcp+PUQNeBaH/7K5YAd9v8UIr8w2Emv1E3fH27gXYYoxC4FpZkwTRY8gSxSjpotRbCcY7SOz7Xrsy3HWqrg/h2PbbBxPsZmWFigGi8/IWphs9fBtraxK5Nk+mscetQoDi0ydj3bocrFnfcH5q5u9njSOrNXN5cW763b6+gTkbWBc27X7WIwc8xCGrMqPwIn8QYfslAGPFsBtyeT/BVAKWj2rDu5I38DCkDs7+v5Nnx7ljl8QTR4CR/796kbrT5MMZGx6WizwKjvmZ63KtN+V8Q+gcpI6Nzg80TeX7y7KBFf74+VoFaxrobnUzgd4hL/CgI0J6lGkAIimwtotmBqnCMPspujBimFVksV//ekcLWCDMsCE4oVGv+Gcel0GRJBnR+Qk3NOpIei/pp+/oQv/QRCKDatAz8hpdS9zcEznaip+5HkkPe8lpA/Us6wyb3ZL26w6rzO85k1G0LeUukgYh0nBhacNnm8fOOGBJtBczxSE/+G00ZlMehVMTvSVF7pjyi9v2Ostgv4YW90ds1UAKLJ84SW2lBQNHRv+iNEjXR7GmGxHjfz17s6YUWEeW9pkw2HsHTPK26KIe64Ssl/SEmr+ojpluSJ9FNbQjLjOmicecXKH7ndX9vrgWK/DAleQzYH9Ql70arFz3bXTEuzIXSQ94t4xu+MmUtnHgb60c+7Kp1U8t+qvNOESh8HeYEuVh9KEylscZJUrAtl0KugkNN4HmidOh3RQy9APUii41tJ/SPvqNZuaXiYRMwEdWsbwxTgSZ7HXL6CXxNZypr/h0HMOd7fAT1SwKbrxQ9HQNlq6exPhe0jGCWWIpmj/VVOM0r2TGPDsLTc5xt5ajYTaSQrinxqzpp7qbm4P18yEOncKZ2pdNcN2ojt9KdeuOnmGXGN6D1vEyGXe5H4ntzTO7I3bChE4HM8v3fcD2Go4QlB42kZY4k5woiwV5Zrs4RDmBb6roTfhUwZ0uU1T2MP4sTF03FXx9ve5+vWTpi+AyDqFEUDLvje4FYCgYy/eNHsNyKrUxHcx6cguWuSdavLxAbGWOme5NsOT/FkXeux57hGJXYzf879FzvnLGAMVCwILRfsKInGm4tESs9FJ69Bw3xzhs/c6TaQUO/O/q1P2iuxF3JapDYmV9BgFfMmV+3gNcxopIQ0tk8U7xxt7rwB590ZG0TSefZ9LQVwat57Ql58QBh3c1Js2elQzKNS0l6gOwQ17+5hK3Te5RUQBwk3jwZeAELuW3QpS1vVbLFfpyc6JwKQx3AoebY9Jx4pYdyccWIpBItL025hMNTm3ZuLuxwR/B7Eu1lyE3lG7h9c0oIS/G2ew8ewdnagI6PKRrFGYJvrwSUCMoG+nOjnHnFx89pGm5gHeKFrG0uJvBMi+0mgc+vWe9q0F4zpBpoSWXql2AoU8nImfSQOE9+dtEea39wOrtipAG90JblB0DyNl2cszDSkEkyjiNihoMlvv9RgSvAI2CrsnkZvCOICPMsrlpgJcva7rN/huKu47yBKH3sEXi1y6Y3xvhoquGnHEDMj+ffck2bEbMycgwXAHtJ3KTS/eLEunwclagNuDdNFqa2SNGQge7xwO23d49ZtZZCnK3inNUdAf4mDNWqE9iY0WGaQBy8GsjtJEz27kxiesiGv4BTdn9ITgnHUxoAaRk+wmi3QlKG6D6mrwDzy7JOLO7KsaZvJUUsXe6vlT9Xvls+deN4/AqQsuSDo1lis6P8qgcOOb8xnS/nDbEPTWQ3YbIjM6WcPZhfLF4e+OgDDINkkb9lWS7Ccc4jDt9MhH6elPvZb+61MsyJ6FiYVimZ5bhiqAle3WaGbsqZP5C5eM1OYtF35dDisuZqnDhFFtkHKlHNN15tNIz6psFNAJgv5V+Iq0TkKIzHC4Sm4NwSyJO5M/3Mon6hwSW5Blu2XI+GGYKgY9uM4b+ditECgFFGU6LKcbjV+9oaGWvEi0Ks48HRUjrPSRinkPICgxgMZsLcKFr6BaIe0fuEsFK2ch8xQHekpHEmefKsFWtkZAiOc599g2uWt5O6+bUeh/tqlysIZ3YBIcvmYs+ciLCjBHLuA8TGjzA0koMgCdkcTjoagEH6VB7Qp0vt5VMQ/0A9eYsYA/LlXC4D3SHE8LZOg8yg+a1/oitjUIkElXB3vu1R/VPIlq1azGguDcgMqno/sE/jgkcskz2tP4b9Ftb1lfsRGLjwEW5M9rqM3JXcCf878/GY0dqa/knD5JXoQJxi0oh7jjQtbDMrEKkolzHUQdOpw7nY9a6K8zzU/dKLNikn6v0YlSF+HSbBlP6RaqqQ4N/05iBzMo5A0HLfSWd76AXpSLxyLBfDhqyRGwnSrVtyQ7fTNhhN+O4wQuC6WOPdWmOoEoIS48Lgk3+3+6uuVQWatw/gi36p6YbzbZfadyMizipqNzimpxw5K7SHidwGIvr0FD779RLzOLWHLBSswm7mgpl6cLfO6ZGGo9QqEUXj5gs1zX7cR/0kHmCDM6iOK4knscsuLDAlYVYhHiCU0I9/teNcp6FMQvOQLHzD0HX8ZYT/jg28Q5zpYQCwEP238o8yT+0RUhDZq9Qcm5GIriUr533LCnKg4TRgglT3Dnr6SuYvwQCabd56rrlpsaOL+T4zHNuEywQZ25h0JdldHEbuBN/CgM6rWl5yzLTifmikhK7uFN1Eja1No6X/RkZVjk37ModCNz5q9iE6Zj8GWNLyzwFRixI4CGnP1MRN21bvL7E65rBU41JIuBcbg0u5BZ1jv+cduSLRGS/98VNzyFRmFAlEg/mvNzreKohvYwTCtAYM1IksEsylBNoc+O2r72Co0pzAEdQm4T+jhSDSDSyXvHkGLa/Mp6vg9sgMQ2po1ctUtPm2FOqLyVwScXFcS7GU/00KSfU9oCnsaNOR1IA17RMT4TqQccK8hvKDsK+kHr6hAQ8Du+NpoCZ5Vvnf5nAnD40jDErefOlveS78DSYlP84jHdiBCoZSk9p1lEFrk2ELAyEZ/rSLTMIwPsXVu8mVSCMbIyS2JeoRsAY9BcCteUPt7g6KIhjs32GegJVZt+LCIZpeKvTP4JExCc3SEJED8U93QM4fQgmkZIFrunalNkMmXdFs3Yy2Dc+POdZBlgu4vNkRdnftEy3TdGOZzZtYUkkyfEkV8fO894yaXTQUMzuz3wyM6UqYyW/XfGDQc5p70GwEAMiheTQsClP+1ztYo5XqYrfErZEqXdQStQG03hrsjLTB5kn5jWmZnm3VCnol7SburXVvYeyJDGVrVWdRM/Ye8p/Z5I8R8qf/kNlz3wcBdbzv0NUpZGZFlJKebIzNd0vA0lNugHAg/lTi6D3d8r4Y5/Of1Z7qSM4LCa05tcSBHOIoBs4D+9HnHMin8L+5EAtHlhYiqZWWQPZh8mQACgqdNdv42wPKlhmbFU4tjt73ezEvBq5zP6dSMZtojRF2P29gPg4vW5XzF1iuxlb5Pk3GxlRbnXxKSrT7fuT6pOaX2EiwShQNv2U7quKM0CfO+pxRhm87+aGGlwiUMTB/LypH5qvnM40MeW0rZ6Am+IsDzva5+vBDjYc82L/PNTytTcpaSvDFkxMGZjHj+NlkLohkWafQeieRPizmaSGTE8hABOMHS5/0vbEAHKAdcfNV40nORSl4j76s/fzMy5phlueXEct76OktoBVkh4jsms4bJs/H5N7663PjgJnJGdGwoItikn0gLk0XBX8Elumfnjpo4TWg8o8LQn84pIMvLMmARiiLLj4h6PFvidVrKXg60YQvkDfzBM+qYOPIs+UiBQki2TbTb8HWV3//LaalBicKukSPhF+IpPXDCgKqqCD33EWz7BhqNnShGvuKSayEn6pzbp+3Y5C2aBeUHxgNoyLe2fkNFkNTw83m9Eafo/m821QK0Qtj3o3oZUWLeF8BPHXp/glYCWe+PuVfkWxtB/ZtwxokFBuSLd0UWdzT71HDmRsizGpR/c6IVi1W8Mpr8OTSSi05m8Ggfaw9uxoicXF83wybumfHibc31ZzdfqYRVQ5dx/ldlPRNh3fbE9IM8UQv5NuejJZGIFP7r/O9STCrR12Z9dS6pH7Q9eBf/EhvJVbF4OB2eQeoeP1gmcKX3glLOO++9Tg1buaDVlaHhLhA9OvMhAauk1HT/G1mDooAN63e6UVBx7W4dCDlMMporTeT6AuoKoOl0jqMANGDHY9IqKZ/5lmnN2eHB+vwpBGf4/T/x4E7Q7QEsT1IX6ddcKPBc2DZkfdHXbSIsF5yJXuCWzikUdDi4t0prqDEILI2sUun8qHIp1RTF/AioGUbrCIVeNFHO+7MompGA+KjUB+wVIZ0Db/6UcdyOJfUpikGTw3MRnGYRYHC02UE4qE8Yqc2v4hXzb3TXy3jEahiC2W2lewhT2zxqxKS2wagdTbpG9yURzhhNSRhWY6P/KWDtSVdsXuTGf2fyLT7LjE7hwSUVl/nNaIU2119XYNvY/0hbJQMtq1PFLGQzMSUbAoYbuAerqZkWDbkDel1oYhmkRIgNACrz2Vj1QhOmZT7CrpleE+OT9JcMS5gFu175Dy/agKyswTzhNvQk5fMg5LndHmbtRKcyXyrxAWSiNKnW7V+GwoFoyRHqxYvVmsxkhcDAgi7w2tDYHsUxpN8dGMt1k3Qm8SHMvU27Q5WAnOsducgmWver2BmTe0XmKiJIeOtdh1exnjYBoUmL6kH+w1+Oei7dj4rn8OVWSVow192J1wxYCbenJuhqhN1WL1+ENh7aEM+AMmuNIXgu2bsgQZsEWN24T5v7WZcNGfXncjwvpbzHHHafFzfrk3W7KYOIjrNbB+biwG8GHTj9HzerbopRE/4fzzj/fBxajIgxh230/9FVls6BwbcBZ5JZH2cGTyg1n0fKKxpClcqcEE+SNoy5TKDKQPa1NwGYl7ZkRkb9c+s2zbGEaHLLblcV9E2JgT8jA+K6UWw/i57iXe4L6JmMvdaObbd5UwilzpiXJMaMtWV7rtYq7LOY5WqDZrBdyCV+2tjjzKoHYxcD7Ni5LR9OHkWgCofyfajq7YcTexvHHJ+3JtpLqxllmuAXda8XMIJqS08AWkMQl4fVTvvCi+OqEUI+vAaDL38JGEsd2UhCl4hKkVHSUMowXVIlmWzkQzmXOSimjztSUIuy/M92GPJKmYXB2wHzV8LMeKZsQjlBeT0JUw/May97su1caS//azrBnEczif0FKvu+FOO8PGz4hvMkejBoggTIDZ5+Bl1R5MXR4wWdMiiT5s9xrUcJbkZiRjaqXfdOlWSTbSMFQEjNd8eljbbL+IAK/YEGfd42T5K+1svwUTCdog/EIcHwFJd2jf+JX0/azLZEyw1r1J1ijtW+XA9T8j+karZ0xB3OtaGVMu/nFYZLS5e0k+Fz8mEjR2rAjVey6CpGn86xQwzdddyrhAKnv2otbV2K59jx/sXxWKlnMZjGpc5JwdHE7YyjSlUxzVwA+6Q1rvfSKtkG0i38tkZTwYp9kQ2700oeeIw6dmzXAp8KEwjEvDEndQTEXPIaf85RFjg4fciM80RKjsOIRLuUyjcxrIx/v+qujtuw9VyiZJC8vg9AKd1q1faCQkG1sd5Dtrekfr2uruwUWA+3SaMzL0wkQJtt8TcYBQaS7BT3u5z979UL5F0tPcNOgYEDJjfLdzVLcyFcvG/+i7bAi6JFfusi8zNGXF+cX91wLWq5WZ6kiCURA+dq7nKzUndI74FJqQI02qVcbPeaEU2zRcMi2CbqyVnH2OQnmy0yHGGe5FwYpMUOvxGOor3d/alhnbAZB2HUxwSpEJV+dPIxNbocrSxlhxhEWlYXpZqN9Kw4bLV/aWMdtiqefxnoiGN4TjuPwBq325jpageo6s+5IVXqZ1lBtfUU48sELDzRN2P2kJH6dggtBBuj7IzgQq5IYgY9CPVvvBTO2jL4D97195oFvdC8lrWsivq811//2fVwwHJK8u020TJKhPABRUkH/y9ThyCusCVn8NQfxtcbx7sK6pInXCjZiSDzfyFdyD0U85O8f8rF54SYSc4iwx+P6tLFoCMmHy9DJAhPZryIz28Yl+wv/YDFEe9kqMs5x9KpjOT+A5duXy2Fv4EWw2QlmE00b8CkYRY76JN9tbM8sGc4QMaTBSYgbykeqWyM0AYVWMT/Sk+UwA3MYTsZuuyqYnJ5r+7BAY5JGRxY/Re5W2e3u6D5B1dsecJ7UCFkgPP6fSGc/cSzaX0k9FVZ9pwGIDpIDqpJhfqDSxjuP8LOQ/39gapoQcCP6+BMBaf0miDwqGOz8YAxaqX+RRgONlQAb7y2W+7LCFZconUdyvV5OXg4GP1jRjYYqDJ377Wol7+8kN2ZKKc+k0fUENsPLVwxwC0wj+R7dtz0ohd7IlmDJmAY6fsL4K0PAcFN5gicQaA269Us2WwRSIhjGKggmcaQes/SjpMV/6Xsjynhmb5gumNOf7mCqDh/DKJytCCtwBmcjOsEXetnZA/4DZNnKpXw4hOY/MqntihLuugWWOLFUUN2BRxfNToa+7O4W2pUW0ko1rE8n9XQuiiK37zhQPJKXIUOg2hAwaoHVzffoQdD3EDXHr3aLcYZXTFPulPS4WsBtUlJgd858wHUi4IXcqJG7g0qXHqc/ENabd7bJta4Scpx3LrBhQ/fbiqxr+UCbjPQB1ZIMN0BrTTV7FdyH+DVBN/McYhy3kQKYdhTJ6IQqxfbTwrbxZnlevWjZ1v7eSWTKcJSh0XouW4jtM2SIFMUxMjiXf9NMJpdOxcVwSyHZ8jeBRfXGSJE5m//aZrNCoZRhL9pN228xVeend4WpAgPq6QpEe2yR7dxPQVqiByiTlt5eLt1H/8KW2BO0P3eafMf5zWLt9kocOeTo/kmzqRe6mPF5vtjz4aeOME5vVcbv1L3vQWjnTeSaDkYmykjb3ClhjMg7O8N5OsIbl8vnZfediPLP4xQshBVZPIfp28aL/M9/MCfEtq6VK1N7K+U+VptgwlxESawMFEEvmxY26T2d3t7ImE934lA5U4qvnMeCDQ+pCEH2pQFABndsNMQWHM+7Q2U+eGkbWcjvdDoy0MjOTPTNtBdZOBmpKCW/yrXClybNL4K459gJAlftAifdv5h6AzN05HyoCC8EHKm5ba7zB923oeesatTm/6+p15leyS1ZDs3hFZsEwzTf4RzvzzOP7l5rgYLeTrrd6hYuspQX00D5fUvxb/NMQNAE8+zSCVUxGjdNsxyTAh+roFXeRIpGnQZtZIX3YrhxmjUOWuRDQc6Kvx9jSmjNFjoS6xmMhF2zhtMligIQT1FHtdm+70GKaxtEIcUL0jCVNmL/oPZWS6RXD2H+XwxA4SbhYsC+MsezcC0TOyeRFF3bINt9KEK/QXSWBbPu0zk8deMkLYePREACZOePA/Te2YUkZFC7oPgTQrEiC6mMvMCCtqa8Ov/oW4sgCWMGEr70AosgJ6v7fMGWJsy+zubHIWZIM3lHUCWrwMSpkK2aEMCxeDsXF+0NzpACaQGO6l6N1wS9Yd9fttSVVB9TPq/+rxnHdeG9VWkZAH2gG+nY1e+WAEl85CuPxVMYQbjCwVJTgEEiiesmG/BOQScvwYPmQeeqsuXInPg1PRXrJXZ49kTvQ6aQ/02jMnN2mhU4Z5f1HWNw2DcLI+n54cp1HCPjOwMdZz8RuFpv38os9QHmiHPOGwJxOEBQPLasMHv+tGnzawUK3Nz45KdIsSqxMJKLHZ+ThoKp7m15R3SlCqsT+SHqFECTCD1y7otb8tzCE9xpxTTCyCx/Tb6QzBhIf+OznKnXLofkPB+OmWmVLPlNWznzc4rrBABZFha6uwx9UzT5eijB39QRwSu5EqswzysryeFUgDKDqrnD9IRwJ8rt/zdMfkTMRXAfkGyyLaute4uFhExFBCswt2teEfKGmAa8YtXXZeAzPd1Y4Hw1H0V/Nx3hesdyKwAnSjxEki1zUvdZLqSbuwDQprNXKBAAPjggY1JIPWjmEU54mp6OpVXSZs0J8Oy9rlkS05fEUbRPUAAPiubuY9c1ifHiR0rfwYTjgM1ZK6ADgdHiKk9kUMiveRg1UJpYt0eJeyMafAgOEvt5gGlLcTHg742khNmHPu+Ggjyfm3xOyUG5vaSk4e6LJ5feGRxFTNJOz7u4xKr5qP9+zJEVqfh8HjZg3Ew3UZbLOlTszCXijhZN2VcDhJUrBIbQBVmk+KhwKUTEDXcK1BMPi6VoNUDywsMa/P0XXylxS4AwXe3w36dOmoRHWN8xEx3UU2gskawkO9pX/uquxzk0oxCPnvd7LntUp9+8t9MoWopm2uvWkyIZSDKvoCKPdHXeS/PbuIRR9gAQ402FDD+9n6Nb9NMT9GvV4zOAds5FSWw0PjvFKIyhjbES3GfkUHyBiwOIXec0NHbzpG1IQcevEHxhTeFWoO2WcrD6DjZix/M1KyIURR9jo1R+U0rCPAFypI62ndOP3tnsZWZKB9jTImacTj2PXzP8osy6khj4Ru9U/Ax0FkMNMjZlt7+pacAeLL2CjHOrYVrEH3ff+ZfFP+Gwst7Lg/n+V83gSNXNMCPMxml3QQZHnrelUAsVz6fdI1FuAosweLg432/IU75tfYa6PX2j5ZsVb3XN6m/Clxb6xC7JFzpVFufA8HR5f+/+sK2gh4+3zYNo4ZujDB7ZkTIuqLPQ10fu8omTebtmm6tErKkD8HH59wdBQf0jxzP2zoq7Pj6ZiSb84U4XpukhuX49J2ADx2wG1DydbsU5an3ZUQVVFLeqTadlKdpQha1ohibOWw0j8b6MyoqGvQYvUxX89Kc//1h0zSZdYLbv+dyUnO88p7urQr5HuN23tpf7+HhoB9+7jz5gLvrD5K8UfoYzINtuwCqv3w8tjXUjM8BVT8uB7KReOQgCJx/ragNtoB2bKSk+b2toSOSfRQbc/65cwnT4Pxi1c45iox267oHjLQQ+pkIy31uBAOaGBpEkj93PYPrpbRDV+KKlF6XAw8H4EZ6/isopoXK7uRIRkoF66qMdv5ptQCYLt5pJd/VsnulvCDEUsyOX2dywFjfx7lC8EKzxY1KeSLgfgtdbCCXWrOl+4oCxS+jMQo0vp8LXDNx75OBoh6msiRTw/rpPtEY7Vgzqt+9/0Ofp5fdG7iz3hbPcbTH0vClv90zGz4fxHBPztnuqNHD0fjVTRhR9R3RcjUnpbBBVgXIRPdkNTdy7MREPVmsG5wv3iYvkoexZT9QaasHSGZOwW6OzNGkDNrRBKJ9VedF62ntcfPsUfzpEcd4i7iEEQMUw8aQZpC8oKyltFkpokhu9lYMPfsdX+rY5Ss7fPSnX+5LzNEe1OilLhZQ/SyrD8CLjzTGwAveeapf7T0aFiqwP2CIRdikZRP6bUHayiCLiep1cUXThWzxARqr+c47t3qAOkisFmS9UxfmoEivbzeu0OGvm7XGKEcCsk9FSyy0UtaZIFWW2copPDFUl7po/dWltM82NezC0HNcljkYDG0BQY72TDPmzWRcS9ggPDmm1pbrzBVv1kpsGIwPc8uXHdXVGW7XMd5wvdx9w13j6/15wgxIRXTLOhDpUTH2lk2vhGSWhyoZidGksz7aSb+yIFFWlWwFTLDXH1lF/S+WhvJJyEfjz9XkY6ke2drSzpwoWEOQa6hMnTOY+nzpDdCpgkfA7AnkLSnVNeluvwBOYCsbFbeWemW+GudWG3hHdutq/CgNPJl5bDqMYQ7DrMssefmuBpRHWGN0b+Qc/cC7xGwx1NIsQ8cYMPtsH9Qc+fPs+hyd/Yle4tgSNmZjSz3Tc0t3c2upnTVmJC6HPk6WwT6BJOyL7xp1Ebt5/c33Squ8tn+slTPvBsMlKnc77/ML4u87PZAzy8itKgFAh7d9f6tx6tO/nUXWyf0yWekbXx/MRy35YonnQUimaLL6JPPdYQAp1Xxd7zak6ufiSRnhXTnk6emWm1KM8ByTUva5aI+ms3j1IVJDNlJy3KMZVMeM1P9L2/0tNzrQrSHhAPtyqKw4iOurNx09LQ8tadie33KjOIldqlTIMEf8i2cAdsUQld9dyD1QsDUdkOeQGT5qd2zgc9uDhAswA2kN0UdoTvJ8WX9Vc35BIGKdaYu+/eKDL/nWaT6mN/PEwVnq9XbbAcDHOVqXzqvlAoNZ5bIrAmH8Dn7UuY8/yt9ZXrMSHFmRfSzCU4dLcZB2DUz1CJsoP7S3g8aQCVY6kZrt+9Qb0fmgSiP3lLpVhbmdKcTYq3nte0qPRntCAR6l6WNhRXpeseD4/92eWfo0Sk9XB7F2Iryj4D75dyvqVMljW/jdvJuR6fjh9zp7Q36OzGw6g7ZVKjfU85bLsxiUZ6Ep/5ik5HBPPNrFSTvBE3K1OvbTUwZfEt8f8a+NmY5sYTbSXohPdUT3YPPgqCwWcltgUOd5cK3bcuHQy62UvVrHVQbhpPfH0W15pYGIA/srCRjtCHTCGoD5Ea6KyuhEV4Oa0C5+I64aTHBTCBsJdFDergG/gqREsDsOf/pViOxrksT3kCVMU9LpUS45lBz5AsQZ9s7QdkNoHLJLIKuurXGp8lBKtNOfZKgKsW5Mf59RSTD+x4cgwsuOkBmDyZCLNH/4fXNdClAj+mBGRKjLeYthfDQOXlMoZBThLvYaI6OcBqgRgmpmog+2uZu/qROjdq07U5ZlnQiPXRKrAK4Od5v2OMXepm+GjSjmVD9RaagGuoAc3ZeHD3GDuJJoKxd5zYZGhFx2PFxJ2NFfhTkDGGOL94+g4WsnW0UbTFiwGno/FDhIseHBt+NgxF+Zy3bRTQxqpkY8/h66OCbAODFRpDz0O8XKUqHFkhI5GUTy08emu/IfBQbW5uflq7rndDlSWqWf809Buv35PjnHewkAd8IPLPhS0yjtwvBYqVduzT82SlQ8AoKpbB/XLpHcihsGTHX6pa6jmCpeqUg8rrPCo5wULS196Kgl559vWUJRgNI6lZA8at/O4mKfcVRc+UYdwxqofiu3z41vBOahid7cgrlMmEk30XCHNjuC88E37W948XQzImPyaiLnJOZe6jnQxBWexxjI8ooAEMnlaZfGDgK7Wwb1gD5reqilqfO5oPg6PJMKKcTWhEae17JMvhh13mq9FutA07wmHSk3mrd5vdRjDFcs91PTR9S8ZsFqBtDsVrdopydR/jwujD6+QUAvkRiMkwWQRjlJX48EFNO5zvEHsyV+tC48PobfEQjEQvAK+wExv8GJIpxywjllJNiArud8NmGF7H8rdG6JjRym1bP+NjJcs4uP+26Epa6WlLb0zBdthe3NwfIe4G+afTdEDNGzjp11jjxIX0tf078yzZTkGQXWxgLDWr7e1s0SSZjEFqtfuBMSFQs8d7/59HXbJW98wkEWrr7C7VVhd4SQ5JPl7Xk3SMsaOJ5Kbq4XUxvhLPQWdB++jJhktc681AxWmC2alZGRgkqsqBtS04kK4K0GLOsz2zLimHnM8WqPK+QmZ5KcXwDE/ELQSDumxx5T6lWArPsqEeOKVYJlpTqIpDAB5lq8im9Qro36+n+4TDXibaK7f+exXqBKUgFg5UxTCSyHI/0npXcd/h0uFV06OCCmfyRzEiCAIj7iWsfRlgOIt5LmbVY3RJMJkdiJ7ESHHXAW6u4uNLNCUYvYJkhhSclpRaDWilR3HH0N6Cex5biQ+HcFJwNWc9KPE+cO8DVyImmKSqhvCHF88iPjrlrn41JKJnIhY8bPT48W+B9kHtI1FR/5/I+AZCFfonK7/rIV176Vjb6Nm/Q7wu8wo6DyDIpp9oDKAEWtjLhTY75VUUxNmDv+JLsaSVCN81iAs8N/27p4GWg+gBs6AwWqh04FlGgpeFR/E4kzq67vukbE22aNH1rDbW2MqLMghLNxCtP1+RcZyOv467VdPjKEQ45zkSO+8HEAly4yT971aJvpEXKkpsekVBs8BLqlzCwcUncVY0Z2hjL/TbtM/6zwNG923zUEfIoiCLbQ6YjQutbV8lo4aUqwRauVNB7alIWLdHlLZOJpKee5ZZnO0J1rczRA3yofF/k9MvkzNDEiN4amN3QvyAHgqxYF7qORcZUav801nu7maaTuryTy7VvHDQ/XiO9qCIfgyVlDqNvbh1MYT8KWoBcN9xm6NbLbZzueQAVLmJMHfzcdqqdezm+hCsQ15VXgv6W/re4tmHgKQvuvP5kdxutOpMfDCjrRAWGW20mvwvlAgn8AMobqAFoEk2QXhaW8MNYX2j4CqSzUn3ngLzYkLtRWOk4zpIdlH0ilhhG9FEr+BMMQliWnlCuc77cyGBCG69ilqkuqc5zH9djFZAXooBi4V5ql3CpBRIYrs17QjeW1dKL04XhbX5l6T/EI1DLb0TnuKIIo9edIpAWOUCb6kdAgqzeDwxY94D+TMaoiI9JR2SN4WrFvwu+WLRmBgCRsZWRwA1mZDkR0LzOH7KoHDgmpMl1u5rKpbd4/STYmtbYaUGuL20bIGR/d4akPIkZghZP2unvk5nxpdxJd2ibuYrWzLg3S7c9mJ2lLXP16/Nqfhdm7HrM28h9qnDTICOColssYrfuYSceAgb2I0qXbqLyaemX+YeD1PnuDcHYATGjfY4rACjE53qdF+GHIWL18wbjweHyFXRVLFMSlB55rY0r6XV8gOGDLd1yMxN1DY7uVN8N2fV25nhu5qUW5a8Szrss3HHzoymMcIFX0BIVAcJ96keaChlit+d81VWYDDZ7FE7V0Lq+z5v/1zVjQhZbN1bK62m9qT+tGeJhTRmUw+lJoQ07kYkeRF42cXBGDwl1j/A5EtHBGZuHh3q4vE11VvbWrULgV/T5Wk13jAPkxAni4Xz6D1qCMT7jMsdjhWzuuiRSkeAHlJpobQywnyhF1KGLnys6GoxfWGtT40p/vYQEbO4ofNtL0o/G7onHw5MlqHu8YW8oO8Ckn7VvVJXIPh9rjdtA189s5OGYS1c9VVkpTYACrll7/Ga+O78D/nn/wm5COWvCmltUNPfZOaeTQYwj5iHpGPqvez3IaotB8OziDZnH2NOy6Dqhko2v7VwhCCipnr6LxJjA+oYNGCRcBeMff+pBAr4PfHG1Zvhq3hyxmJlzidPCoAtjlzOwHi0dvHia1NoR3EfRID+iFNHMkQptj052jl5E2n1I/7caGIYRr61/20YqdmjdGMXLs/LFL2Izzid55Exjx8rwZY9xwJjfXLA946rxdgcmzg8LB4woHrjt0Z6Kao8UE1//tkwWvXm1FdSJZ38X/zqOKw1B6eGNfw//iGYiPq4wZzW/7x2bBx0q/wqBXWtzDiY8apKcxuemD/uXSVVaeMk0f8KEmmsGueOu+ujcXd2Sbm8rMr03TMgisaJjUrRRXziW8RbmV0a5sH3YjcvdQxk3k8xZZF6ozYG97MOvNwpIx9IVnpTpliYiryCuidbfofdPcMkIG+Z6lQ6ARf4mw+Bq8BehtFMgyPlRfDpfeYCpYLjbLgpcwi1lBhbDJzyQ4+LY3zrZiaEVYB4bKR5kLvTZVFHpv8jyugzbE/aqmik/VFGsnjqbVI2slXOMafDf7/tl5N/W5b3Uc7rnF+2DrG0X7akm9G7/GhG27tPanIGTWXDmmZwj83GI6Kyv7wAxgeXkv0NBSiVocxUhadTprMhKxKqfyvymnTqeEmFzKxhIH/d1l7mvlE5oZ/jFmFDOrQIEsstmMqLcID3Fu7ZzrrU4Emaox/te+1MtdneSN6iuBu7GwdDhVAUov7ptpakAYLFukljPHPGhdZuKZpCyfE4aA5cuDSabJxSRJ1ruvx4UKvzSSVrE3bHdK0vs3xpJP6FY/kh0DK1ZrRU+xdewjfy17AVEu42pQ6UvvBZJ73lQd0kKgjGusbuILfD7CTggYzKjGUpUX4VuFuvYWR0JO6GduNhngtZsRydWL8hzl8I69brNRohBK6ciLM9NVDKnVHchJi4Jb1FMd5b6RWt1i5j1pitRNIOUIp/uLJ+b5CUBlC79OK6gKlq4Bh0HFWPbqbZfrxDX9IVYZJ7d/SbF/dxHjKhkbaMH9yg3+vBBh/Hw/zUN2hoLoK7SQ7Rlv7CzJYzBXxQY/gYFVG2tZPGdldlaZWmsY+uTw59hlQb3C38AelIpZQLEoTwHnSblrcwLvp6IgBuGv7fnsUhKNwp3D4qAwXTyl8gPX6A8PXFZZWr3KmlPsTuuDcyebKkAhsjLwIBo05Yd9ZEZVNf4ZLBioKhDY4QwwGZ1JpO/qBkVQe6EG47xKTL12lzlAFJdHjADBH9QCHMKO0Xx6v7ZkPxkFEzgNNbXlIfbF1TRDS8+OV7q82HWQcdmo8RGbTHzHHbQvTi5MgOmKSWrbjEgYVCsPvvKv6v3fnIY8aqnF/D2zozWXMK7VNRnuvt0MnBjt8WATUlxcIooxwsnx6nubUw+fWV0s74bRu7/AOV4Sn7U/lHtTXMdVlfdOMVycFRsB8drWgCMaJvAjq8sLx+RU0iud7NJRtS9FJr4YomUEMuSKpS9Iot9htxdVaoUnWtvoK+dsoX9L7rcTQ4A9Rl6YdBduCskLNAq7rJ9lSf5GLdYK+MYnboe7if6va5oTTCI3xsfnHCwRXgQEuvSqcwDcQ0Ea3oepNU+oRKoEAGGQp4R6P0Z0ZZHazc35Gsjv8c2bNkFibd5GCqgxIhJxsHo+xO3RsnuzYroUpzCnnQa1P3afhaLbGZIyFtNCjei6iTQs+s9QvbW2DQ2lCNxD1ALzHyBGJ0OY3epqGkYJfP/5c0kMiQurLNeT3u9JCWeNwUCxhqrV0xU7n0+rjuoW7WstmmI/R8sPb7zVevDgX4EbwE9aiOgGvAqW8ONyH8osPQxBsZIE5NI045oPbh5s5tx7Zu5fLPs8mmUDBJzRijnQ9MCq4T38BlAy8eLMLZOpymokcNK/lkZQSpQibolMfQFO2A2bqETiAO6OFSLLqmbVQEaufOfcPrka334PlaLUuQ3HgzRp02zJAG5z1r6tsVozzJjs4EUUsCrDkZS0SrZWrFxAzq0KbudembWfIQpDFUn1PeiON88IYZCPQPz3vM3u0nXoPhizMB6sJRrkeXd2cf+Ha1sz+EFIw74dRS+fFH0nobl5CuMCBWewo5aqQewlf6QMq0LAtNQrZBvpJcocmiym72lCZY45EWJ3GXKjZQ4+QMItwdbXk09MsHrugbEEUv1rhKxCTGup+h8WosJ9jN8lEMhkc1/zuIUAxISBSWT6+IF3st3MkCG2vnimopuwZLG/QQSzlCJCWeqtkTVNMOPen2DGQyiLi7LgpjD+QBIelbk4nWi8GJwScb7HILalr7kXrZcB2+jyO7exk3dBpSMcaiXKE0Xpd1VLG0A0eIiQAU9KfaUbN9iTPHM0zgPQ+1AwiigIg+I1HVKSIDnMRS4bzrrCqa4AeGI47neLSLbM+ffpWi0dtqVhjfAVvZH5++ytw4NMLfcBDpX17AjX51OWOqdWmXZSyremAR3VJDKMs1xWFedU+qVSXgh+G82j3cO6Fj+coc5p8VzQmU9FuFeDaMOmGB75BUCjaFbW6LS5rJCa+DTZBW9pyTVxMU5fxdCumaciHNJ+BsjN/zuMSEO9hTB4fZA0hKPWU32vhD/7HIQo+YbRXEcIADudXlmBfIYCqsH69uuQmG/wHZY82aWiochjvpVqgGgZAljKEfhZsJ44WMoqtS5rcdTeRC+f9/of0zWpaBcp9Nv2/R8+z3EG619hLsCeFcL7Yp+f2Zz/YJgoX3D0WhPClDDdYI2bwND8q0f1hOlhFADIfMiBEN56n4N/F7s4LWaqIwWlCgd+CUFs+XxFLN9ET8NNukkZ/JYI7xA8JzgpGQdS/RkQYp0cAtYlbyYWrVm0koQwOCcPOH1nxXMsBs4V8tg4Jox9kwWSxmla0VSIM9OmewSIvkVzx/CjT20oZ5XqIn8Ddk63GbUaY5ds6JHUjKL1WuA+fwofwVYYwE1+M4CqzMhI8TSMpikm8y6Miyuu+aHXya0cgFmOhbKX5k6Lwqh6wEKn8FmHVNiSGdeZkEGTRx1b9vsELrUjlJLQCO0t2TZeyVzs3R+h7BX3ciN8WhV8OAA7tWQrAGPJoSGWI2xhY+nr8xn65Bsi0eUn3jZAn8r1L9tOTgxz+tKjVePj10nH7vzGtaOAo3fEZiLqFhwFcuChN4ptPrIkeh4ZLMfmoGtxsqS4N7qG54OCTRTy8sHh4YbYU5xEfW3iuBwjVsfsqSXfFJrxTc8bV5LGnsS4UPIZQ9ugv8G3zNDl8sVOccndP7Hg3+ThL/HiGyoVO34PgPrGcEveN8BSrtRFyRa2UHrd1kS/0lfmQJ7ENtV9Bll09W2zvrojkThC8UVAiq6OD1kb5gxUQPGoHhNf3ubj9StG8ghxhoOW01/CFA5DkUUf/VaosHU4/1Y5opbvXFURK9ICZR/xkofZgllUUr61EdaBYWO/saXZsqn7LMDV0RynQAFcfGYf/8tk1onzOFruOvp19YZO+j8JPfMoXOU2+LUgZWqmAQQrSMcZ+YUhy+gO0f+4jf39DxPXKZm7BqddmyjOQA1rixWBKdZz13jIOoJocOGIa3YWaoa4is+0h+qiTI37cvFPBH7G65bupfQ2sfu7GRoSdwar5xrD2hfFAMxzcpnZd6K49VL726P3bEUIQ+A+AcJyE+X6YMjKO7HLdNXIxdpmPss15cYRffaJXLLbs8FZKRUu9sytHgC5AVcj1LbVBFckxjOHGp8R90Mky0haivWeEGHFTMqAP3mTJ7N2T7nJJJhDbI9oBOd8SEr5sOhyTuq85PynCRi0LbKRnsZ9B/kvHwBon5R0VxltGEvrz0l5mQFcLU08M1R7c5KKveZX0hm1v3JiP5sATrz0Yqel2FCcfJD91AzSYTtypTi448G9BqMCoq6IUKXJazMc78mVQSby+SvpiekXMbnyHcfMQBUtHvStMuFpYHYYs40AVYC9j70LhacXtrlVdy2IVN/jfsj/Hyc+XF8U50SiqIh/c4KC8sYXNA7dkDkZcCDIXXoxTpRaM3R3g1oxpT4bozUuOv3SDMHpvoVLXNp4uh+bftT/fhh1ZSjrRaVsnkzl8nkKutt07wTS5emzCAVBQAiU7J6BRpchRJvYaHk9cnIJboTm4pSfrpEimCFb8ZF9rB4l5BCilO/NB5BOUk38HkmhSEUB0S04L8zvfc3+u1U4UwZARiFwx8nhD9xGwFOM13VpI3LFyf4K33HeflBmDHuccf7tYlZknD65HtcxGyZEy4/Sd1S2i8uSYAKjV9vhM3EVpysW+L3fzDb4TphmUEY/9fyuzcXuZhR5AxmnO9It5WWuICjNm6ROyv6EHhDm+HD1BlQMBUgvR5CPUk2pc5FSOzOe+hDEs1CZFkwjlCkvsphiYLUuriFUK7DLiKx5dZjKlW076V4TSxAwkdGDr33HoW4AWaUoxXybvYIrG8j2weqbcnMnZkVRCyc8340VZzzPuJMlvtBDfLC2q7HyVMdLgqi61qqdj6FrgIQe+aV+wwu92hOGwxhW293eUY4qTd2bRKSxfVgto0YqceOp9L8QDWwmg/wpo7Z87rzvOOPReAwdYBFrUGuSvQKWgGwEe7yF6U/AUkKJRLvhXLUkJiw/n3sOpNdzK14i51Igodu/oDA1M5ip8K462ujjSnofi2YSwjivDgVM1JcxbcYN89RvZbrMLTfsWKWCi1YjK1Nmlq7YqOa3D4ZX76WX0QS+BRVJtYCtX88zPeKBo3Fyioe74dos0ky4t9Lg8Zx8YX5LoUtDNUCn3wVzcDZF81Akg9ujKDbVeRTnYMXiKxjhoroj6vL4MumaFhgZeBeWu4nHjM9n7OsjNlZtUzS/KPv2mu1Pp7+vfuhN/8DMohUrLHM1NIu68XG6gofAQMuOWjFbKNxB7l7qQIJiKr3Ksi+Is6Ggf0ickwukiZyb+A6q0tbJuS5MNJVYt+0/TIfONxBBFzNVM7JgeIh3bPAB/3rFj4i/CgJ/Z7mZObiX2bOzQ5GOwOhVO/3+C+0wUWIs/b79ZQZbyhQ+hqRw6xeKPK7i5GvHf+TDB73oEjHKXE5q/az0COYk9Bc20NBqcxXjItPvE/DEbZsPwxh8ZozVDXEmz6Xs+QGJGWwbt5XyYoHdyfbpZwNMQFqTLmOGKC30T4W1H4JmdFuXSvc27zaQZHq/kHEOYgXnAYJPc4/vH1e38bjsPyh6td74eLibB6ddQUwV3v3HRHXAwSOJNNsZbZSzqa/mC/vntOdIZf0AmgeK7mvTvWsGDnqSsaFzlIKnLR/r/Je024KsrZHxwX1q943BKevyHkoOWSJg4KZv9LM77YuBkr4R9lYk17UegjFykxvLISzggyQsuMVWlYmpcgXg6eMgkie8V6qzphg+yEZ/JXAJjLC2rf87imN5Z8ZD43Z/ek8F6jP38yMZ7HadLdKot4oneopBfUDLUtlzqmABfumfa4/yR9x6mcVjFOHzzPJdrEvl4ri8YimrRFEl4iCvRfq9D0HTT0DOgGEWML8Q/kQvhkEUvPFeFub1L6u2cG3HpMIF869dAKz7pDeN20089ypTyDZkFbneJ+kLtmGftY7qfuiT1l16uaNBIbu5zrEqA+iR48+JzD9FiFOIM5aAxf6sGRvfWT1aI1D2Ij2P2NiTcAXUrSxWz1lXz15HM9Qh4o2mF861oC1Cg8k/qPiXqUIgDy6DCx9FeZgjwarYWTPCWYi2dq5PcG/uHiDNgsYOY15qF7d1KG8uOgdDXnt54FRK7u44hzH8aLapnUSMPw4w7OI5aWOqB0Nbxj23Ci89if2ngzQkVvgOwI4D39IzOO2F//ZquKqUVDn5pQLwkG7TOQbsyMXmUZ3J6l9c8IZdZf0arai/10jJCcOU/dvIN4GRV0api08nEcqInrVQcuf2Agb5NlsHhvcU/hZKXMJ7+0rirDbth4PQZ+iqpooJeC48sPtEhpMGBSFQkdrB700MyecybgXbPHPRtGdKrFNhozRNljrB7mJoJuo/6LMmy3S7l/EOHjGJD5Q55ETeHLwbhIA4OukCvtbXuWW4e48e8n7lxtzyNLk71IxQwHVeb1SFYJ4xvFBldF0fP/m0OIJoyyslNGCcKzI6X0EnVQNaP1j2uVdcw0KUWTCH6qkvStevYasDVEjXISrNhrtuTypDhhhIMQU530BjTRImjZWFeX2xjMz7o+8P+aZcVpbaJwcwASTDRrwvLr1Z+Ig7vqUGvJPKowIOQqT4HHXehE4HYTE2HBciCk6ZxTOFTilzEbXxtKmcPIUyvzlTwC/jS8r9SMPBHcV//B2/4PaiihG1IoSMwa30auTIHC5ke4XKU0u1q4YBD1/Ilr9iPm9oCMfQzLqiLJJ6NmXO0iBPzs2vHBR+3UjO1YC+oJWIcPqJz9QIpUgKBLsgqMbhJwyXV1cNNVYCtU96x7o0OsK0OTmUK7rBhKSlxzWwGVQBbSyxZWWuywrj9E7rrT6Wbn+n2elqxHgPUBv3CvI2+9+2RVPZU1iNbHhaiSsoiTU4OpSE9Fible3deDaQBqlnqaEdQs+0g2ZtEeu37z5GoRmOoj2c2OktsUctpqa7aHaluBGr22ELSslVd9VuSIRUWtNs7cghuxdjfEYqmjGuGV4zr3HC8APpfnwANosKPH0z7oImG7xecn3xiLI1TZDul4Oi49S3Rq+pHM2ZDuWYDaNXK5Y/cJyp1jwzmFZpa32vrggW7ZcnMzBtmIweLHeamkCU9HZlYF5gSEDI4ObkQjMd9HQ4LoaJN+SgHK6LZnXUAncbMB9Tr6a69QC5IQpb+sJlH5hQ+nheg0ypvNfNDDD3rVfHJmihuWR1ps+bcMaNEbibToYwa56/ToL8ytnuP/IkF2VJmJ76LMJCsmt4q8YELznTJp4TPrl1xi00qvQr1Egg9a4/Oij5nKUVFqrjeAfD/s7Dyauiff+kdaAHqobelJIkp8EqTDZHC40EDCLujGT626u1Dmi8XgBft1eFm5TN9VeKwHg8pF+U+zt0YS9/RXImXxp7ajD2JbkaaKUOcqxVVT96jRLYpfpToFwOFzBp6fammM3m5YsdGRUnRwhMW4pVXjNYH9vB1GAAJzehjBFV+MAC09VMQZSuBEROhSTfnNDBMPFSSLlEzybQ2RbLx9Dvxta60FYDT/lS/TlVmjgQB7cPZeYB57ZY0PCvUtYTwdVfCt71YPyQEaPhAqlpzEBO/r/HKevXj61JHlT0VzUNmr6ZVLuDc0BB495sEVXySx7KLsIxbbZ/275HaTkn1YoiFWXhphHJkXsvVCKRb5+qDVi7/Q/BcKLJNUQnyeYvVY6UEG34v2+cimQyytTKkgCXSMmO9t8EGsfsDorP4HYU6ig52zizqvGko05IM0bu8+n32nRrjkb/9nzU+m4GEFqL8KCWNlz5M3CCi1qf2nivCnxEb7JFZBvt7QgATUIMI6VzOv4WAo5cOgWTwfzXCyhaspyxUgzlQhEhxcIX5Qn/CHqjamRco+72bBTenCxXQe9lswW+s4Q5GuURMf4OmgpE7IYdQBZtu9lPY8tNXnLejjTgHq5aJKxI49sMP9PykY/ws6P49TFrd3fpmFYUd5Z7ei77lCJJcCT2geRDIJkUMrqTBuhsn6eq7BkC4jCYgS12G/2aofEPnBSTDBr3JSHQJrWHAD82Cm4DQ52O6FF2sWh1T5S4nENFKsqigWAY1MFnANTPMSJwt+qIyOmq8DZKnZu/Q9LXyxU0Ruyx1XdGpbeUk5hUF6TPjDjVt03wpl1Z9Z9nDfte4MU1x8NCXBiQcEfWcaboJLtGx3MysIlHAgv2hNy59qa8FGWFkLKANMH0UVdneMlLE7xtF7fnKfMnloIk5dDBOVWCYdrgFSHF0KeU2FinQnHUMe0YcG2/PC4ClHjdnrCHajOvD923ZhEjiKsaTYXfBMaHiUaSzfnO/i4cSBDAQN+PUcdW/haTfu4U5LvekxqelzVmF504reV8bXkTxv/H59Jk8wjl+3ufCxebijiigptwrYL3jYlfwOm20XS0Rm8acq4ybEedDoB9kjPNp8QbI9gsK+014tJEHG5CoKhJ0UKMj2de0FCS91R/vOn+jKamn/KWNLGK0oQa88NqR5aJT1bNumeavCtJsf963+dG3vQuPS9/IXwBuGwjCKZpjQ9308UOKwIwcBoxc+Y2v0t9tqD4MxZacFu3SuTHHiHvciJmvmJAdQPdBOIqOYWLliagBhJShfinD5EaIUlnZzzq3BHi2CcbU892CICywDdHFsYBfF692HxXlJwRg0YW6Hp6lhcZgU9f+HYixS0JdXdDztk8WWY0OvW2BiUXRE3ASl3cktJofRng3UTNyYcay5gr59VWAbm/0nZM+VxFW4oGyiT3sQLiIGDEFzArSLEaO7Sgapo8MtQDdiwgNsV+kGJEdujGu4T4rN3pg221ZYJ4RluhsbYc9hTsbOcWs33vs3MA2rE2igSb8oJCyqvo23oD8LdTjurMMkFoc2uWjn1yuSgWsvBSZLkBJ5LDaIcXT+jLi2tgDiCpp1O3NpROXi/vC37HHuMaufHdk5pt/w0vZeItYbG/LRNClqYWYboiwpYUO29qyKXIPVThIt3zO21xD9aasq/wrYT/xqC2Y4F1r7MM7oZqAvQJega7gkLep7BS+bH4MBsjbCmehyjQD1/CpoPaB+h+hhEC4pq11p5QrT6Fw4Ae3bv/R6HsGxzjqXQH6j3T99ftzvUECMeuzE4GsBvYq64Mn9lgEOvDim4fTFpQlUT7cy2PGqH2az0FzlF+5zflAuCA49/1a99pSkhkD4qyKJfGSRUbRtzCpMF/RjHmfqs+OGwFvTsRIsYkP5/9kcJyuvdC7SFbcJZDTtuYDpPXDSeAdU5YvFAtvFWTXsKhDkocXJruakjABVUupaTEsleMvQYcc0+6C4vaIbU8BxriJT3yLMPmIBaF5yFlQ6RMyMuriUQHJNTJccD2p4f/KqjHb8HNYFImijh+NvFlD+bE1TWoyBf+o7N30q/ZxHxzqo6zRhSHQ4GsNhWrynuDhQ67P2OVBtKl/MQQDtn0krD20bmSkowSzQgxnJxILOE+WMMJfdw2i1U7fD8jrRDG8MHxVrBydsCMQWQKAFivTxmuPMrJ5mVX3gg9ag2y5Gm0TYerWeQyUA995ueb6KMH6N/wjPy9wdOBVGq9BjqCOiQLqvi7zfJwbTj3uTNRSPgPMQUYRdqtUbyB2DdaLCukAY00zVasKM9R6Jr2jJ7Z+na6NF66gEQ/TnN+9NbtxHemTji2YqOLwMvvLTLQ6+bu3EwGK5vUELlxysFpNgpT5QQfeLBnPfaAAZ4QWPvE9eKWx8TloQA3Xv/xjTh2vTlG221J1BAxMxr5fHbEpjv7ms/sm7Yuj8JtcQfyscI2o1McaHEEhxBSu6hkwigAj3r7ciSnUSy+6aT/5eT554//0UVFzV+Feb5A8bjBhZeAm+qHxAOCKVzOjxUGCBTxgHrW5ByLgW/pvhaEz8S9CHxRLcRui9rLkGQ+r0Yrl9kAdOch1wuhEVXrs9IQmrCcT1QFyziKYHqsmirT6OCLEz891fkYhtXFE/sev9RY5k29ISFdsdg4dTbIxrd5w/r1VAEN+9FOqzkkSTtB8OZLiq5y+IgkAJ7vTOuB8wKBMfZ1jfednUQjdi3djjrpGimw1zDf1mTgWVz8NCnnzxKYGfkMPvPR2+VFbkVbcNJ8QJRC1ZWhbX807mp+O2BRQVfA/IOhI24buZjbPOouAC6dWRfhVQ1hWa6RGEMuXQ9z4Db6rFyPYKEE8CJsvtSbUhz9u52GrefTP0E+POTgfTrb5k2bCXtVbdB8x6sb/ZOVNlBLZhK3BcsbQGKatKtJSGbyzcPh4gHut0PtENmH7iqQddylA0fXReS0CknXGFUAm/fEvOq5PK6sokT+0A6vMR1K0nFIxtZNiS7PByzM0VSYsUILfKAIY2swnH2KjEsKacTw3xA7g1ET1z+siYq5nBJ/bFyJV3WI0a+lf0ca/FvhRpXUQj3KpTb/S8YWJ59OuFJT2baYitrL8KLcICR/Zy6vj9lQz/LstzlYin/7/m4sujFlvqjrdGGvxpHQ+nxGldys0JJWoMuFHTOu3xs+Ec+EzeFTUdFsj3268eBhekVg3LFsqDrSTQ3Zak619pTcHoM+vRFGfBuF19z4HXwPJBZMTP/puPb80MajiMGbHcgqq0qznlCm1IePpDYBdKiF/kEQXQU/7Lu660nb/zcO3JWQmcDtjziRsvCHacltjarKk0e2rgXQPnyBqwPiLQs7PS7f9I/8zTBD/iNgr7G210sKIQlLMNpnxnDnxD8jjo+YXt3VdOx/STZV5tHz3wjSuJmPr9QWvE+agfXkxukwtgGctvcldX0xubRR9dtDMkOnXkijeQLn2AddcPZT/HzR5uFyssDsFH4CiU1wDPd+iX3G6JMKBDYczeEhdnE8XNePfaZROfk1yPHKfAB4/9JDOzo2vbvwjK7mw/1e284s5avLwWWNO4pkEI//1hVWzpdAvdS2nnjkb6dTeVfOPy3S3RoMuQdD/kHB7FkwmYSFPduFnHf5nE6ljZ2cisbYwhK6PwbbInTgGlmJDNoazQf+smTf5hAbb7NKMtFHXgSIfX1HSqn+seOyP0ACzDOwKpc34/5J1DPJdgzie9rRUTuhTbwqZXWtfM682Uy/ndPmtA7XuapJBKQboW4Qkvw8KJHLj/b+StOFFJtAUx5K1Y1A=" title="Mekko Graphics Chart">
            <a:extLst>
              <a:ext uri="{FF2B5EF4-FFF2-40B4-BE49-F238E27FC236}">
                <a16:creationId xmlns:a16="http://schemas.microsoft.com/office/drawing/2014/main" id="{93EAB728-20B7-4879-A8E4-53AD7CF43103}"/>
              </a:ext>
            </a:extLst>
          </p:cNvPr>
          <p:cNvSpPr>
            <a:spLocks noChangeAspect="1"/>
          </p:cNvSpPr>
          <p:nvPr>
            <p:custDataLst>
              <p:tags r:id="rId6"/>
            </p:custDataLst>
          </p:nvPr>
        </p:nvSpPr>
        <p:spPr>
          <a:xfrm>
            <a:off x="718002" y="1752600"/>
            <a:ext cx="7760418" cy="1676400"/>
          </a:xfrm>
          <a:prstGeom prst="rect">
            <a:avLst/>
          </a:prstGeom>
          <a:blipFill>
            <a:blip r:embed="rId11">
              <a:lum/>
            </a:blip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1318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prsQcMwHG1A0zlmK2EkOrZ5M/cFg6qUkhyneQGImjbU5PA4nc5NPCTwkyJAq1oY3tVDVT6KUAzzHz6t7Q1r/P24d3P/F2ByMzzHIfW8hB8RRP7690BJKctTVlhnnYIhDS2ehL4ENegY8jEhzkBVwcXQ61DYlzD7+wfeIRouDF+Qn/piYHOv2pzKWka2lQn7SNqXOw4MrAwv+5/Ri7p+AmWivQ9q4/xHy4iI66fknPmQYAfhC6qhm3Azp8K6eTIeDN0eFPHKNO+3k8rOVJEYlideTgVYF6iDCwkwZDCVfqerGJw+EGeJHmRfXyU3dSA3BLLvBK6o85RhFGOz6qU+lwf4JcmOMebmKtD/vbSR1hhKpdo3YVkALDJt48Ie8v+W/ONE0jqOfvXpb6GBXRFhB4EnNs0FBaLDVSR5riK1ZwWagwpAHk5GJ23eNUuJUsIK8wQx70ZGEaT4SZT4GI4XuO7mNPL3uwWKntEp0JDUat0Ot9yfDxpSfLPm4DeEdfDkLlJXtUOwFsS/MjXFCQvYb75iKFhk69s4sQa+nTcYeiI1t9LRcQ+LrN2uelZYu0hdk9MukWlu20JaJXIP7SYGxBJkybh2yGDAWrw1gQsrlLKUrmltFxrk7udBxQFDzHkcT9rxD1NMOU/RUBZMm7vHYCY7MocWlQYZbA2C7pZz23volHVlsPZZGKpoiLuoxpo02F/gXmNjgty1deS6iHcvXcPrM+IOKEmSiQV6dpo0I+qm/KJHCDCvV+ajRB7ltKRkNLRzuYqBlE2Qmzu8/Jdkl3OSsoKQnfclDRAGQYvZmzott6v2DLaVXJvxX2zBL/8SSbQToZ0UADyIzPQ2KNLn3uyf132reDqvLVmr3ym/evBNmTZE+ZlYXI6YiLYcGVdlbl43zyq0I03SPTZa2TdsKff9zpKZ6WvBxeYZlLLxd4JN1BLZ7luIa1Da5QlS1ZxxCSZ2fILsnWI+9VvKuIGyTB+En9RHUODyXvfAtjtt+6gV3zP4TBYXYMRfgWue8d0qmReSXil7xAgo0dEGUjRFENUEZkmfD/2g+0o3DM05qHZGYqYsDrXSHlKXCr9SANKMGU0T9sMSsJXsqLb+nEFVzBaFSJlZwN1vulbCjEp0u1dcJ5MYET4qX/jJCE5eJjnnYACs64KL8wDphhcmt4xcuzkD/HN7mfiWlJrpvDnWi5w9ZFTmziek5AMlJYjx9ORLffp1AqK2QQb76KR3DwdqsoNPAu4Uvt2F5QGaZ30xp7HuFJgGte92ZG22iq6PunUWd5XyRt34x70jrPvT4316xRX4MWchE1RUEnSMxQpsX4Fq0uzbanYv0ABnhV2DIssp2I04hYbGEkQmCAHgMIGI9PK9NesaSGJCeSrhSfh0hLT6gI91pvnaV7oyDl7OKfre259x8J8RFNKe1g99jH6i6GtP4p+CDrqAAAydS4+dd6qspPKQL9y4iguc92PRQMAxewG/ZnAskUC1K414vjraqIdLgfJ7b60zkd0D73POQeqd+d1VPQH0Cq6A3eTIgF4L/FrIbp6ztQE5IjrzBvUL45HUZG8cz+QGfglOQ0w3oJ7xiRYGWJ0il2Wf17ifD9OU4Hf4DDpgO5GDqYZqHsMvce1AInfc4AeELtbluKJDdPZkyrfouuD4QT7HwO7sVTiDXm67hdj8E519VggFcvG2+ZOhhJ0WF31JBw6r7Q+o0VeYgGzMH+qWyK75AyGZCHtXb/xYIUt3jZsiz2v3AOLymzAHR3QgnNY33xQFHkjS44vX4BYbepaOwbmbJwdANMFfcVK8crJXwsBgYXtaGI6TgPmrKCfr8Ttm701Sof57ZATD/kx7MPnJQzNARNGdXxLCSKTlr2vJj0lRyVkYlSzdDAfEV+Js+8V11fgFX0rRD9RubpsPbndEJGBZpdgOWEObG4zY/m3Gm6++5tztGbxQCR6eh/kPuSPJdMuR1T1SkEqhzRgg2daL9yxFbTNshYC2RGrCct8egfV6hBuB5i0w6aCI7hIv0kwA7myeHSPf7v9Kva6BVGCtRlCDAhML/er2ISFQe4NlA9FQyYKNGWH5zNK4UkUB1ubX/YRYvkTX3flVMzLdNlU2Bsg/+T4UzH5vY/TV54dvFoYMBxo9eemAwzXlipXI4iWHxia5JEqDiy/K2S9S2px30JT0ecrK+yKnNWUJ8VLdUe3EW+k4oag3WLCEmVxwvEL+82vwBB7wB1elq3aKF7lMOEdoqQ4opB8RamxViDglZvZ8CjZNLcD160aAy/GuYgMrcv8N0Bequ7139KPbZXn6ZqR0KZUIPuXWjP5Qeci/pePluiB1lWhHyNQ/N/SnHw33S1y/4HXAsi261LtGV3HgCLF6YiMm1hyqOKaVnadxvraNKdPmOTauih26OmoGlsPifwRo6+68CqdqwkFlTfRczB0Q+FSV52DpOxjzS42V7JunClHPt/oQg7qDZpZOL7VBaYGM4OYrdPgU6GBky3bo0thYuWmCB54FKDOSfMkDY62y5Gley3yTaLxei/nlDLyTsn842I6OZoOu90XRxaJI5OV7FSxbyY0jX79XXd2gsgmuPBjyhSBe3s0rfy/VyFHwTD2ALAymNQCvQNQy4VVzskDAiAFoWvJxwugikRO+oFSQjnTnLjHPEQczHzVtpNMRxCwqj6oEj/u63ZO/uIxm2njRyCoz08LF7m6yQADfkEqzoZjfh3h6p0a1ZRFvcFdYR1eDabWVy08qJQO7xXLtmEXuxkoL6az85KnEe3l9ldIlJBbHz7lQPpdwJQbfHemGceeOpvDwQHEtuIdfIUKrEy4LDWQxYPq2p5eFzmg8LSTlWPC5cQGGN9CmjiQVut85ph6AQavzxXCygge54G4XD/9HYvIgHwc2fiTWZ44LqkzaaH778vuo8Zxmhhb3JrKoY7yXhqhKODChe/yk0THkc9ylkMoyI+ZF5sKYV1JFFaKJ6daVQcE2OKJIMMLd17mButUum8KaSP7i/2Jck1ObXuLGQCcxPq3Zz7lePcwVl/CogRFfO2uew3AbdvjUpLSFSDoeyMex/F2MKsbfTIRB8FYNBsPfOaEYXOj6N1qM0VtZqnmVKfL0h9TxdltjUKIp33X96YeLvSgJYx6FO8TXPj7x6rcI5tDwNMGXc5LJC7CMKHsdz/inqOywkFJfddHYvUW35Zi9rsea2pXFoZXUUi1rQOJKSguA1WTQ4bSmdSoi0PZ761FUAcpZtVqrI+WH+PG3hx1rTvrkSTYN8BQdd42auTHErhurtKu8D0uAsG1gX7IloHsWaDLdiWb6aQqOUpdrzljwU9VlXBVVd0mzZO8DHsalzJkMmqNNvc/dFipuf9GdXUsPMutEMjUPFSQg6rx56ZeRTkoIsZsObNrkqeU4n4Myts5CuDYhKKKouEjfij+iccDayg4rT5l4jmF1ORYqtX554/f7RsIFnDj/FlsjEgBD9uyBA/3Y+H+8nI1i7VATwQtZOg2PuGUVVLol0qKdZ5Q92QaGuBPt2X1QyG8+qtUZsO7wHX0uwpdVdC+1lNP3dIRyM/wHqMNLkTpyul9cAE3sao94XOml3bXg20VxWiEo842Lx/ViNwpIS1yDlitiXcxzZC0tJ0of5pTcRWfje71W+otnP93+j+YyVs/gnMp00BYCX7jY0tdkc6LhV4Y/0Hx0mHn9jnDUgC/lQkyA3V5gSvtJ3Nuz3rAjHOrovppGH5Nl5ihakvDJi8IpZCqG73i/XgKbo5oFarOpvtuP+fheY8rVuhSzzl7RJvKFejeAxLxwOKnzByJB9EeuOu19J32bjnooDCSUMyxEODz8KhX03j/BAV0ud4Fl7prP0X2zWlKImJMxkkvXNkBDKA8MDj9eXaV9rRJr43nwGVQhWubTWbfIiLU6pUfTb/mwhQmxAZURfXBa5UvorYI94KvKRPm7lHwfaqyoq9TIKxpItm4fFlg/3W/dJxPFsYVr7pJK6KFv+zEz1if/HBCaWF6VtUGgu1a9Ox+j56IX3V4ZhL3vF702yf8l/BE8VPOJBeHRzNWu+LksrwbQHuFU3PA9Y2rEHnOeMx4TBVqAEiItRqpcIzb6Ep0XpXrP/xkKeP2VIcVdidJ4GNvXMpuo7V2FoVjkW6ifTsNDwb1w8s/9wOi3Hn5+v7YI3ZXcKGikopSgLYE0Vbk5s9cFN8M7di39yzmzgbsyHpdtjqEnk8Q08qR+5NhxnfsPGxw3Jk13b8ZwBjHjve6b+MOC4r9ZiVfePE83JdRcms6NpqDxsdtEf+LWQkElZFJ1/UUOwgVvf7H5pu2iK0vkI4sKfh+E8GUA3aPFhmhSgbUum4LVcMdV+4OIas0eneiowBl/54X0y5oX7gbtYlYAr9uLb0khXVE1XhGIPXoEqHxnJ1GxKvtv7jlx7/6CcGRvsO1CVp/cpZiFVRwP1naMlVOOEF+G2a2vYzEu9f4coC+6/7gjW+ZhkW5EglHy3pCRkuJrZnWVEZQ+8HYtcXQtSosowEmfCNiJRrKDaSzSpNWC2Fi55dXHVeBMyqlLlL1ZH6hI2LpuCFavCmCqre11JOAIlL61n78U6ntTQvPI/5s1IUR1ZVA2Hi3VM9vdWaeUN1vkJp0XE7vRo1HZtbm0RtKOY6tcYjv8PoIIfcbzlXFgRgVzTJmiKM07EqiLZ6yzNio75jxhk1+T+GL2lSlEQD8lk/MAxybm+/bHa8u/gL+SJucvlOOuf+GEYO2oI60Bg6ZvQycOhEND/6g6EDVL9aNn7pHZw0LNKjigzDrlPT9rsVLJmV/rNhIKCHyoeVBGxmQr1nkoPbb0Eq3mv5UIa562FhjHLgrzI44ieJFPNdaj7bd7UlMP9xTqbMPtHx0mvcKMa9N8eM2AWqq704d0Xa8V+BfoSGHlwGLAMbC3eUKxfwhjj9lmVXbZgAZMvFxFDCaSf51PYCRE2Rt75R1yhfDnNEHAy/TjQtTroriyFWzeuCErsiu1uFwguve1L0ANJnGu4gLzToM3RwgKi6lDmfCB64uzAOw09Q0uND4Tmg12Dgy04AnZnvgFaKWjXz475QHU8XWn1g/01ZJ/PGZMfuR7d/EhOJ2xX7aewn53X8iC0mgL9JTMAj0Sf+4C8RoBU4o9t8+3za1C/iD2NDLJCfnfsS3w/r7fbJxX/KAJzxHqhZa+cTGialRiTk7rbXkIrHPLU9hgTWqiJ6EtVX0c2DlncIeXdNctjaEoKLLdUgW5ITYqvXOFSXWzV2McKcOtycM0XjLsIk3FXOl126O9SRc3vWlg3tFiZwm+lMo3LtDpPWKJO8K5rXFVuZO7Ilmqgwhae1Xk6tcygW20dGOgyBEOh4alC+gMX5Ft+udhgQsr+dC4wr2J/5kCTRht21WRFmLDzws94cGjca3Kg3Tzv9J66bS/kYjWkMeej2HsN4b+a1Evp+bfsatrCsWw4rXmlKH2OJgnjKMysFFAojKTWp7aYwKQwyXDyZ+CFjYVIobGHwQXxhHeDw7BvUa5clSI8im7Sx0y+nva9sqmdjURVs79++eeuVf4rQXVMr2uZu0ZThrTh9OIXTasHkEnYUTpKjWCSoehVoLwuYGQPGjK3KNgPTKA7YFiIacz7K6kKfoIghsjic5oxMtiolTulNkcAP2ECsNvAWnfb1AJc01Fi8IRG/YV9y9RJVD+tnJwdP5QuctO+rJxOz7iuPm/l6/WXXVlMrf68FurBGtEjXOLTvbbFJVvgIjWwTKZVWI6nOEHnZxTW+syVvXho/nTnFlM+Qd9xbG06oa6Nhut6nQFzHQHhzn2X8BOuWFHw71WHijurckuHRSpPCcrWQBrIe1O7kBB2j2moRg9cU9HGMpxvrMe3rYuBrxqfatRj0CwWjEC/p1ERh6Wo8zSLmZPx4qHYtHUh/VB+KuF1lfqqYa2Jpl2erRrR1vi8+/cSX8jkyWxoh2e7xo51t3pVv6ohfTpvZV2zQl2J0B8D0aipei57XYXpjWjApuqmALAaBx9C1qeSMRz7UA2YhdFXDLjTJ7Jn/HlhFqybp+ndTlI1pL4eMPFieNeptlktTBRVVPQ1GNwTBlL/Yf+V2+ptMUaBhxWxZlNe0E5+RuCG39vRdPj8qyXc93bhjoTLef9793BV9XUVqMW9/Oe1W/AyeYS3PIvUt0UG/cgTuI0LEti5XKaaMIQl9VAle4Po/QfsjPg2+D2r/qkcpv32dYkm5qsLtFIT+uk3hxi3JObC44XR4qNqFrqnkMpPbdRntHY1/WDpRBmLprqz5qVyd0iK1lcCmHJWpTCfjiEIY37TNtYGaoThNJXyPLyK+/Iz+mmk2EutzxT+nYkTqLlw6Oov0VVnSE+AMlNoaIT2DHEwl7ALifcrgL+6xCjrKMYYj8Z63iwyP72egmr1xoOzIBesgSTrWVSaL4z2YK5ndjOyv4zHNorgyDaS9lxgm8H6MRkLoCjiZ6isXQ5TGwG3oDlTqC/M7OagH4WVLjxC5XVtWNGLW5pIh8mI1hpVGErXcs/VpCgDSy5e0fFvkRO4kUxnhBgQyoIYLfJ/BfsC/OJRuGAONjAix437GsTx0nK88gChxTwDvM2JbCCcRWHVwEhJ8IZmkgFdndU28HLix5KzVcNc/p+CCDOg8WW/ywa/bG9wnfDaZZNCtfNbjAa0yYNcqv/+KBz0WohHF0KKVnFb2k3Ayx/hIphfK+A1TtMBQRHQbn7rh7alCwM4w0xgkKaJwOMI9s0MYiM7aTNhtC/QaFjJm1mNDXHGLgweFJhN4MO/i4d4CRDiGmg9qXWndL0Lvi8gVzEBzfAeK94OiGqe4CnF0UasxpH7nSVOqgzVJ1PMebT6kMUB6W7A3Ce40iY+ZFaMatU3OBe9kxx+CqzEXnT3q0ZCO7q9qoz/L7CMGoDbgtB+O7vd9975V3tkcuNkuoSCoMzYm/gwz30TNHY92yR3foeuDsP9B6eaDGa+gwKdjXtHT6nhx+9MTQH0nnm6Un1S1ed8mTtneSac6aC39jRu7q3SeomxSKPYFWkKwdwOZsP1igHeMwTCspZ6hCfVshewb0319uGx6gdpWkhm+hGpmZbJRapLmYvjnTfxPPhK7LBEXhJTq1lH11bmnuSolsEqiL2rpWc1+izdHcF62n2slCaXGVRRAQba+7clMSK1z9RJQpXwNBdfgL7UgPEmDmM8gWY0KvU3PyOTlDN9LhMgOht6NAa8EVW7zZXZ05T1vS6dJCtW+21RGXP1c/BW4VlOfc+ZW6fVzAI2YEjLSoCcSWJFiRpfzux71Lj1dvYzY/4IV/7Y1Ryc+aCUOEKikLws6LKh8wP9/Sqkp4AJlQhwY7twiP0wgqWubS87FRmWrDsdwyyBrDpSPcfcrpD9Ehv2CqkAjUyxNj7VnlaaOUhnw2Nvst9c9tmxaZz6lvScXy0McP7nwuHJQ90NP5ANFQCA18aDJuPrjYKop2sZpN8XYeV8ox6ybGUQNDBhkTGwioCo4+uOsDncSlSoxFmbSfO+p9nw8fLJ5XuE95b3w2B5am1D3HGG8ergbIrZpfO5KVNljocsgM2P77OaP9wbO4b76aqAxsptc4Qcbnnf2mO0QhOnG2I4NK2JLuaTPiqHCNHKAqrdeOPcJ0U0Of8YWrEtkxxjRwR6ld5vbo0abGOq7JP4f304SJCG2pcaTMA0B7fFKr0m6O2FsbFy3lP90EWdAzyq/8DsuG/yowWoraQvqT7+RAZp9fEtWlq0lw7r8QtEDq2bDRrJtBgoUGficvmY5r8mbaZOBow5t1uNRqXUYb2tBzNPtCCNoVHtoTgfYoQyNYBiuUU2g78DACvxZgsL4Ndlee7hxE0kl7hJGP8LBgF/JD/+l4+Pb/ug63rNfFm5XtttQO6XOeJtQhkbrwpEpuRgXY7xgLivAFVasgpw/ms/U+00pchJXeGsBmERcVe31MWjhHlLGYmZk8Kg475W8NUWM0N5iMxl+Jm3E7D1hUVPsFNGBg5+SOEEMQko491/ymqxYGWYPFRaIetnmWsdRgMNe1iHp+uJjgfepoxpdXHM1Qrg5ysqCQE1Ge+gjVhiZltfx3NaXM5sOgIx5WalJxWROc23D9DbboGHp50LyrPtciXIki1OIXZG/YEAgGR7SV58hA8XMMkiFgDmo9ULNL5/4UNK9MgbonxsS5hu4D7w/u4kSpnraMgVK0g7M8YjxrxYIc9CAKoDwhnYzL8YU+VBGWXya97i1byVQSHr7KJR8DL6gygicTEYOsBspAruOJXniqKio0218WMd8Km5fvNqCwcIlSH4b9rTIKg0cVBCesZ8Dt0kYXKYki88GspLQCafSbCGQLjCtG91AL+Aehfr4bxWCGLn5B1859bziG/W6Dkj1TrlLoOxCiUDP1Cajlw174Ji4PG9jQOB4sRn7jUb3aegBIlePd38ltzEoGqMXoJCxZNhCF2M+Hz0kcuITgz9DtsitNirbAMH2EcyyOHPKng0E6emP/+HG6lWbxwTupWPvxI9j4Vz1pmHfW2asIL0NqLLMKIRQLrJwWFbo/vaQDkfjBsQBWQSefG4tTpbtHE7XqIIFCS79RDauTzMTVGTarm+XCN7eVRJ0BGeTDy0SB1xBkIljax6+QBZWe6IdjnSyl8H5rsQtEtcSZAplv6hYimassnazH1S1LoZbAx3XqBCjJ/9t1RrP8GB1JdlaQVZlQcawsqtcj2bp2YKIKB5g45QfPwwm4w/Vavdy3QBV/qbEuHTyrtPjzuT2D3E3TM4IcbSwioqn4AyCrvYpkzG2Nq2UmAOjabqxZ/6Ki+aWUwWtvkY/GhJLUXoz/v2OSzJKXNU9MfjgN4C7CJV4+wn4K7Jz8QhGzyk6Ugd2ywCszkgKHRk5LVJEDhZGLETT9IoIMHIShBAnChNjSY7BlP8ZIdKIy+1lKit/kaJ174bK+0ETOIApsteIEhNj0EvV55LQLBW3NJ6irDeQJ8QzIkZ/vQtMu9kfddhajb90m0ddHGSE+KUdzD51y+ABkVzxbjJ6EbFH5+8w5Yg6RIliBFa1cmrI6op8smNjfiKPjX+VivFdAWzzkR4QyN7Arn4PkJM7t5SoeV1IWPRHBhrQrfN4MsYyHDCCQkEgKsd3Tsefq0IBybsWnFGVyuNpwjkqltD9glCqVfS93KVBiacDt6tI3wkwKvE1yckH0ozwOV05x1Yme5VmFrSUYEE/aM5voS/j9DswnvRixM7BrfZfEk1vBbZgYgzOK1cw5Vvex11eKaqEkiJI30dZVonOWbkWXPIVTPUMmFsFe9lhsBbgAYMErhkpLzIc5TaLxV8T83fvO4oZWajrWGcOHr8YfJasLyQBVERgcetgm6GrXPM3yg6f9izRJkgHuge2H0gCX/9+g5sWa/lIr8O16YWU/tVdErDbKM75yrDuoRPUh0qkCDfvJZTmrEo1G2tjcnJeVyv9Zj20FEy44/xAs0LvxO0V0yb+5cD3wldyD5NVgtIaJoQQmhEoWuyF6qhNu29TkEYfigndxA/cQIjlntdUQI/GlTMwNqYRuyoUMuDtBCQdrkroRNQimgzgnAtoC9V3SDbsxwLA4b3zBrWy0f05wfBoXetZfnIvjjksh2LzIvmufMbsBH7Jy+RL9YFxmPJjaQdhIHE4b4vktoVjS1NY/UVt3XyMAzNC9PVXWIGD0YV62bOIVktAUwpxL0EMGXx1FXjZBTaddsC/mzTyTZ+mvelhQkazdaEJk3MeiIo4YL9spP8ELehVixCOCJGR91J5K3ISz+/6iSmvieZBqY4vthMLToYfiI+B553ZCgMwAdbDAtghT+h7kqIaPIr+MtfPI63pIjHZvIfqhhHQ2nqE0VU+U8cc04MVRZ2g3wDY1/IvLkfUMHRj/ZEZDgmSDSE+VI5dknfEFqSjpyoZw0OqHKMwVzGadzcDGE8V3pLzynt/+gu0Gv+0+cDQ3cmMh7XP0c/xq15Lnt3Op7oT8FsqsGlGHHQUrskyESSYTz/0ehoLigU+7vtANRC7iMn5PYkjJDh2JnsOyc1VsAvTci163uSCxVJsxfMku0E6oFs/5EbFJ4xYysgps7q88uQaXdfWSNkZzMH6WK5T/0ifyOtEI2nQeLKPhhyKnm/3wAG3fErVgAsupuJq2wkccwCddVPpMYaL6sik0kUgn0GTtIK7ye9JV+Mjse3W/uzqQLQiKX4JdmbZWQ8TfgkfVQ3puNlbIP/q+MOxz1PFgtJs45BkGXWp4UG8W2h0tVIy175ksEpevl0N4V3n0Ugp76RvLluEC6CwYrnGWqEOGoK1gaSrKSIX+HERHGtvBhhqRxddutL1Ky4hD1W2mEduVziY0u3Y88XBcs33LVTEqCtpndHzvW43gcEJgLFzaSC/6rnJjj8RIvQJ+JWHd70Wub5Mxcp49juNU2Y06qqL6ycU5yKbcMK/Dg5qiwYwdKYXr8eGMCnPqvO7rT+cPCLGWW3BrPUCF6FH8D5uadluRWAt9E+UK1m5ybiGuvfh8wwCtm+w4gRNFYHhCM7okP3UlhTdkIWDrZ0HMR0gwZ+1AVbFUel5y6K02BZ9BjBxEwn5382WgUWkBt4vpIqMOX4ivILHa7gB5gm0MHdLPbDGYPgpozZCXQBH9Jkeol28KDem33d0lyroX0cbASl2ZEXAv9EyIVlIj+HTrB6uTAzvgJ4sbVzXpNSghKvSd8bo9xEXa3NCgtt3+YY30RmcGYLO63MO9Px10vTw+FFii/LNnCid0fbuvz7dEY96H/bgKIpHCwdlBqtmR3gcoQWTUoRoiCdx+selZ/y4J2PEr67IxxcYPwTQjS1vOmr8wad8E9GdRVmdURAkLjTO8QG9vjjaZaYMvhyzxlutPIxg7BZBO6rY4pngkmuiOa3Z6gqYP6KerETJeTMQFmC4AexF7pEkEJs6xo3souZYP3KjeDJpHs6mnd76nAICEBaQ+lk3rXyFpfV9Y79BwQ08SrXOmtzbvgrX5C06LiPll6uKe0vconpopAIvkUfiPaNDh0+yxI69fBRVPhyV2v3nzdkDUT/owLSFnqSCH3zU55j0PCK6KzLhkmdkF6dqfP5Yj9Fg9jdW/tXLUl7oBlkB0cvjYEausQ30cAfkWaz1klzgznBPUqjbx5uZ+luD8ghNPe1HXINW2Hz6Jrjj2+GtRMRQ/apScQFNjXOxK9dBAUY5XzNL5CvYEyll9bl/+UVZCGq5Bw3tQ9/7UX5vEPIRYVhw1iRE22fR1c4JvASVRnKNGyMpW0rl/td7ZjyR4DGaTMZTfUHd8AMe/zWrdccqPCmmtPxKkCIygxmHuxf3vo6yVc1UXyEpVW72kAKyh6fwmmxuGqWWo/yrV/28X9ncpwcUmewTXQmwYL9dVNklC0hGx5hJo0hbiuKi1IVzYvvjeeN5YkckEd0DJ5QuhvV3fO1VHKAICWZIbmzJ9iOYSg68CjkgHvBO3dKlBb9QPOYpE/Pd2thOmZcmvgefvGiaJ1XkaNM5KmhEtT+T6hl3rv3uw2KgYJPv0TxBTpSnAxHBwA6eudLEG8iWY+X58bOjrnKL8Od38RR7uNA2ka4UaWM2LnBPJHCSfr8D8/T/AhfbAZNPnsJ2QJ/xUeqbBRLup8KubvuOZd4lzb1fjlkjNM7UyXtFXlK0P0QOd99cn0Ey1e/exVrs+623RNxNsGNJdr3uGaAn5xaiDB2/7gLc0gVqKxBjGLhkO0HzjR3hpq63P07sfsfubzqKLgNpzL/SMp9wpbg36tp2sWX7v+ctOpuGqtHm6T0AG3oBwcZfy5SZ0Jrb0aX3q2nzRh/BpO6+gdnw6gEzaguh6OioHRLs/4AJiJ9FKeIswxMeRCM955+rfeFl4/JA1WpwCJkVzfemPXxyB86PijiBjPWbVVmX2A7vwHGqHUYtoej5a8vM1fiNlwj8/mtkLqe4vsGpW6df4u67sZ8XsBza423tK60GNLsPlsg19sCw9zRpUqmjK9Iz52jAhF5h0/+EawVecVDHoAuW5J6JMy6V1aoMhwKkAs7yKnE+NewjuuSN27z55OgRByAOo6cEsDdC+MGO6/KQ8/PWTFssJu4s2W0JvUpCTMg3naTFzj17gdGf9klNbNK/mLpxCt71F4SDS2pE/xGJL1I1a60m/7QEC2WmMy1sOXzxyg36vWtRk8L5Cz1oaRb526khu4PSK0dcdvH6az9Y4NQsEQm86zwOU+/VGjN81EaHfdk6I/XUUhD+6Uh0mkLB0wJNS0QZZ6YKBCnRltmXx6H4jXESXNaOrVaHiJ5bbE4GVmkzrUKGa9z5ULNe3xx/TW3HkN+gZpE8wBQRhuXJNVrYbc+DfICNAJE2fd233n91q3qK5GnqBQkXOm3jMgOuRVKMPiPyCPqUKEQ8mYNR81UTPVGn+Mtbp6qZJcp+rZD5k5Qzv1k9AbAen4CrMxCSEyht/kKhxn6ieFrHFuaG+IEZqOrB8lNAqCjnNTDok2hv+fBKE5fdyyuWt7G63Dar2IN0U+0OvCi2vCSzmV9blVmEBrHfQj7+tx/FyBf+Q4OJlQIlNYnqKkpIWYvzO3BrHxKmPnBtD2vqe6Xtefn+QXfj51MOZvvrRL8Ot/SyjQjbLvS+7KVIT/7pRU810+V5ojyus9BM6UP9S1OHNpiCnPAVLQg9GbcMNQVN6vdtxEPUIbq+nNcmkaXvTzWWoGCI1U1VVh/B785vbARrkyf77PCGwYO9z8t8HjIyIzmhAxgB45eTRTFEGSEhLG2daH4UYfkIZWipERuCorF6WLdgqkmfuPWWvWSCd/OX5OwjVe+gihT0+ay8y0Qy8/n9rrJpTfz1b6pPhWiv9A1VL4ZCxAxn5g5mEMUltlibrh50iJ6NXrJdsCCWG1jVHppuTC7LWMNUm1UGYeA9AR6o5abNHIvaKJeHWy7U8tWo2COW27Ha5dKD5AyG2/x3y3b4JYvDE9rpyuMTJLZx3aas1NcWn1BuFMwF59NgO1HhGygO0ToW+F4Bz7nvVxvFG2QViU8S03RCAWHEJdfI6ynU4wrW3heTGss4iaL3e66crCIdo/oqEpKlwR0CqiDiAzGsbPEVNP475b3VPntsFxf0gDXDDgCK72YGJBWMUL8oL+Imh31rWT/tpG4IAPNc4sk3pbYNvflawgMKxkWs5divELqDKmw5q5gH6DKDyrqCfGyn+fwn59lyVufy+LeD94FBKTwL6nrYSpezPKoY2QJ41W5S108y3PBtSyVV7VJAOyPIr0W5f9NSG2WDLVfPF8ggHNt40baqpFSGnBJIkJy90LRQv46rzRnHWx0vNzj4j0drK3ymjwZcIbVg+uPOPQRKgE6IhqpHCRU6XvGyj01vBOHHNsn/+3BBPlhctqqPZQoTxiAUtITDofPATDnuFhTxFZNNKOeSPlSopdHj+bp3ovHLSbk9Veq0HFjWUnl6zysvIel4LLR09B4h3x2PK0dA2BcOYpQ4tChy/rXkGpl9yUdoI0y7lZAu4qxk2yxHtlXA5mQrjhlg28C6kC3aDMyhpZzivfD13LJdx4m+h/zmsg0gzauH2iahkICNQjA51v/cc4zLGb4Ww9A6DAeTUH+ps/rrQjoAPpXALkkrCoj+yoEj2wz/LOif9Vr69HAZH/gh2PgV5PwDmsAt6n6T31d/lT4HCCBboQAHnNg/Gc3HoXLi+BWdw4nU9ed5Z5iZW7Q91rUVG2v7V3nHAJWwC17U1ljNTmIdBx/GtHpYHmVftx4Mj588b1Y+XBFzjdb6U749/UgFNIwwGWd+hes2yO2zLk3Ur7xaRKNHyRQELDyVwZIabZnGf1sObq00kp1GKGv3Zq9i/ksA3NEdHK1ntqzZ0uM2RtwN31OURd58Yraqwwo3x+4IVbJEwbIDrSvvsxpRUYu7bEtCbONwADyMVJrgjWxQToJZOLdPH04a/sxNgTW4oo7mwNrZtkxAdZc5Iji894CsA3QJlfdViVQcI4WTiYkbRbmkwriRywMbdCAP0QQJHaIqCgVz/iM1iXXFf473rIwvRiZ88qHkTHbQbPa1v1CFA2nayQiFlggcVPCP4chIViGRo+j1NVq/7QxPVg31Bx50CBXfvrMHk7I9myIYmQQ5VpAgkaqmZq1CE/OcF0sFPDIvIbFiAcK9tD8dMPOj736/Z0nAV4liLUkCdVa0WnwwqmLDl4geHyf0atNXn76nJVemSMwQpIr5N2SZP+o6TLvTnXG4wNvj6P/G+h6DqHkSC0qvOFFY0a9rArhpzI3N82auWiMgczZ3yjkLFYIjRQRsZj5wl0MduV7SUQzQdL833HxNHiFN5tPocXrKxFmGSVvXqiJIRpcf4FwDTInEUHRaOwOwjrgn0v+5jOxm3wWNaeEsYKhG3lM/fmVVzKLBYVUMDQ11SnWGoGqbreDQj75kCytrU6KAN1Z2wy6Qod5Fm6mvzFGgjtPU8SqMttf6zud8zAwEO1WI4DH59G2orXY5NEp5BVXkf0JT+a3Ieb1EFKo7yVQmg9k71qurxownRL1AvUAY8/GAuY6ohJhoJYVZsguwG+yrtXkwyKfKLlFGwYvdZaQvueZIU70CrkZYB18TfkI5IEzZfNo9uhU9f/2UIvJGwnQteNa29jrce+5l6WYxczNjQLqgpRnZxKM1pObVzGHbWr2MLIgrv2UsjvPAijx+kgeksNn7doKCcHqXVkvHVoZ3zR+/mNeo4XekUw3WFfC4CRIWBGZg/UQ7BGl+VDuROYeyWwhX9p3+5Q6Ckvq0K4lXLxBNQ+7K2X9YvX6YJ3yKT2DwEGhGMs3aT/F/9CIxm2p2ZKAeawrsmhG41BQU1rUk6AwYVQ0to5O1AbhdjtBAowTjxxagB3b17rSA5S49ZV1HDbDQV5Fd+Kqs5wU7pkNC3rmyiL7+za/JmDheeeLf5uWz/ILlIhSVwp5wutxSFsQ9QHS4eSWtqhL5a7TsAZy51OArOn+SFQJBWCUse7KEn5OAaEpKoVLXF0YLyVs10IDZ1wcSsaW9cdIFPdyG0dxzPmj7J8jcr2qfp6En7mw2I7a/ysLfvVhwuIypoT2hfR9DtjDS5n46pKLv+XWnqqHWr00dTQhEAEHOSo3rBtAWkYWza/HfkW4kdiDgGTgqsLm1ChLBj3N4JBAW3NIM8HBQH3ormYonqWtweHxjA5j3XOWQMKzDNLXvzNih9fHqnZcO3ZpOC4A5XtMq2uQ1NDoXwi3/6MDezmU2nE+y0uFVhOdaDcbLkMW595i1qSlMlQgCmNfkralXuLmPMFlJOt4f9iiiTd7/LVcbUjAqXzdPLnnZWxle7NQeYk2sFYegGUtjAQc6Vo20PtDs4V8PPj+yHJln5+gPsxISolo2BOWdlph0a/OnswtqoFrmDHGGvZe4CgbksCZkLOH9QT1VfhJXOqb5svSaI1GiIqCD4r4GKe4rZqvv30Mx/wevuAslU8NjgAw0sqBqatiCg6GfA1CFZNGo35SMRbo8cKZQCPU0lDf+xURuhbxhr3oIUNLJvgNStjYp8IFYzPgGJUSoE+obyad1U6DBnQxtXPJjb2u4w5jl3pCWAQfKgVZ1IlNrfjrWNEhaYDXffIdgkvdTOS9n4IxlPEyeutmXeyXNCOA6dby19PwAqScqLaZGCRYlzzU161rPodICykwAWsfa3TIFEF0sX5a2wdAhR01pHsO3Zp9/8nIskq5ofIpUgd5lXFANmPbk+68wJ48b4D/wEhoo+N+1OF+rkvw9aCGPvoKVhUAkyMX1nInPwlsAgkmGT4cZRWZ2rVXPvYUo+fp+HHfpYcxJK9b5KtY8MRaNTUtLLZyF3BLw9h0+pHGbpwK5MQBEvKPya94NghHHamb/47AL+X/IWUvU3oojk+JRCDWyvlXz/gqm7Cq1B+KmD2Sz/rk1ymJ6kxb/CUWlZaq95Xl1bh1vrW1cTRe4o2N8KbepqyPpMwZ0cdJB4/IAYTArKvEhk9ZtC2DpmUW++LLQHzH9U6Ye+mBJMIikcR26A8Ie+hLANS8dZ/yy2h4A8ivJPzX1BFlYA7VW8BsdrE5hdsces/SVzHk25ZpBgcjOOJFeXLXYx64Eivph3cQTCAcERDrPER0TsMya0KUUue0ISJ6+NHUYXqWlbe7RBtYqN5l0YndBQmYgUHfHc1BdLCHkECKVFD34XNieD9mv08UR+5e6TcYHwREg3wXs5CZHwMF6zBQJszLssDvV5JeUWGV3k/isJA226/9GGifHPbhr2Qmj7SxdS9o3sdaay/4rXDi66FRB/DCTbKcxEYA9CY9F6xpGlAakHyx1RBmh63koLonS+BdJIBiLqaRF3s6TnIFfSVWQHst30WmAirEIfFTbfCNg05JvwT5m0k7qZO/V72igGa2mmsk7bkKOA7aNhB55hPSnCnQVKU6CXTUSi85a1ExTCHTybTdwYqikjR9iH7QUmL4/PpPPOfwO888789qgmXWEiU4w9sxsjL1aq6KPihWZXwITtdLfU8RY+4G+zbUzZWWf3ir/qDXTPGTcHQoAkZyzs+V/2UIv53ESldsTj3papZt1Bl5q0lELxQOqDNqg4TpSKH+P1JE1cGqxYfei1BfKq0NeS1VNclJrE05PoRo+uu/xmrOWHGUJu+tW74GS7ZhzHr0TeLXGZ7giEygGC8fRr4gMspDFze1bpNCmXHhZQgaGZx7YgCJT5qEW6uEkiQrJF9UImz4IJlYXzb/0pcRUoDOBEgFKNdrZWCmmBu3jzeqpfriv9BikZehSaYTKxhXwT87rNmbqCygn1OQTTXfr/6uPXpWE22ewdFyvCWp6osQI5TvsQhb3lQoelxat2Dpumok+qVgqMlEbTf+KErQZLhcKdXhCV2nV/uTGlEl8FTUtb/HmnIdAsm9LG/kJgzXfWCyk0d0YTsLPku2lRwystjeOAhBLqdbUp0EoDymHq9z8Of8ZrYZ3kGwWZFEugx6Z4BQdGX+5j2DCtBnMl8h57xFnuFECnzlkBfj4KBCloU4UPcuXormvLOMVo7hn0VV3AXJfspCKLX2byvuchWp0tCkyVdVDZtvCVbFIAIM1noJ8hRRWRqoj2+Or1fLJgf8K5nQo43LJVA0rfRGfbaHYavpM4ywLQsDddHeSUF/81ACLvW/LQ60KMBRAAM9AA4i7j/7HtK88g/inyFJNvzA3tH2Fj0TLCN2XuSWv9kad7OicL6C9tHrSWZjnBnBaB7q7EHU1DM3xemFnMuKGGP7WWfC10RW3ARDLtroGEBjPdrDSgssFuFJ5of/ohKnwMw09dBQd56b2CrniJif86gKQxuJ+RPvrLsxwNdm57re+I+CJPgr8qz37wkiioewmoBlBo6CkwWooBpIo3LwE/COqef958+W744xGwFBNdVtAAnClkE7kGg5WBscRFWKPQ8cEFHA/QhVd8rjpqLssRsfPPyOKGSAW0kTshJobfdTRG1o9DpPS4f/briGdPxSTdLPN8dneA3XheIh0IZ5AmS8JRB2FGg3zGA+1NqMpdRX9cSOlGwiO+rCDBEWi7ICDGFM0ZwCduoq5bzZ9dg3IWpbeZNQIsvcE7F9TjdjsAUilro5HQkHBW0vqAWrD7TCULPkEM+71/LfnKgU5BLCajth9xiywCcIslqXjGkdLUW6exSayP3Q3Wdcpj3VARYrL216PDvbySSAKoms99mp0GPO7LpOlzzk75bbIRoK4pHuUyzFkwrJn1r5JTTaraJNk7HZXPxOwFe5uOsLgZk/SLLRf9TLcQmz3Zmydtz6S6ptOkWQNV3jUDujM2nDb4LAKO/9W3O4TrAwkxLguiuMsJGckQnjYrG7pVSEPHjgRGKgi7O6uJnlRfdHS+ztOCW7QvCx6YDXo5CqhFJG2TwvTkuEPzmD7G6G76UJLdncg0C+EEDJHTbRcHEpd471SVPvT+7Ls3cM+ZZhlcucu7HfqMccqZzkYUwcv8Rs6nHJrOm8X50naN0BRgBwwpQrynkNivRWPxDeqKiih53MrisWSYGzf/dFM0/mKtpiGkuojUS/upb/s7k6Ifa6WqnhevJjLLyb2RdK8bntw5cdXn57A6pD7d1qdK+GtC0QaGrs93isNCRNjTglrSiHdKxkkVjkHhds/O3HnDHoAwyRa7fYFUvjRiArKLn1XAqBaA2CRqBanwpXR9PDUVjsTl5Zt+z8n4Zx0Pe3PGgC7VXzQVIXowyQ56SDe1m6B4cKnnclFnfcw/rt3U257fQipg5GQBmQtYpfCjZX2lpZGOieEwoKZCLO3ui+qnIQfZMngfevSwvqgAg0CoXvd8HqVnbLvYo7VpJBfZ3iRMnU+gKj/aotwlC5knQ0RtxSX7LQUzwkf+TlZiDmmx6RX993idwLZpFyRk6ZWAwThGkNEAfLCFw8R5LncHVxja7458szm0KAk+fVlVdD1YMFPu1ZwNFHTFZfcDEg+HAkWA80bnlOuDjRI8UqpiTMB1Arf5gw01/qVCW+xAfH3ZWnP7zQRJgsNv00SxIpNSAcT4ZP/HXppAaYrzebrg1gerGW6KFOhSo4HAq/pTC2ccbbUAUyquQ6Q6aw71OmVClH54URubpfSiGxV15q7IRvfL2wsM5+H4Exoao/XxRsXvVRiF38CNS6b9jaw66az6K5Wuv6WFfU5yPLqNmxeZu7tSM9h1LI3SNbN12C8DqdEucwqd0lSspNTxPsIYJnvEOciuGI+aPm7ATq07kB7/c9AZ+hbAXqT9b5imaM8WIU5TFJaI94Zb8clamWtXcdQICZE72k72FEbgDjdFvOOUg5PTPChNyY0ZxftCAiVtHpZC8WhhNWPhwxzTyMWN/SOTm4pDyEpVqmBG1mURLWoALXeUMKAtX4HYLJu6VZsdn6rk4l/oV9KtysJGdHshV0kplmakCFCbyCjsnqh2e7RTkJMReGJoYqyJ2ueYmk4rLzvwUtBLHBYwrAsjXW9qAh1jrUgmufXAQ92t3bNJZbn4GUHz36x2ui7wk4KdehTWL+0cJMGuTdOkSt/vPSb37dAxcJmSJTgNrvMAos6Py4hO2lWpdVOF64VftZZ0iEmyDl/wIhsjJnaCmLv+CorryINAUa+Vo6QCKwAf9+n1KqXs8cnNQOOkoDShWp9Oswa+R4WPU1DClB2/YjQ0tUws/PnNupYfbtcB04WTPL9PMTW9R9OVzi/s7BMZz3rLnzcGWjr4B6Ld0+xloOwqAwkSiag5nDX2rBij+feFz3Evz6qQb/0DA5c9AyfEc25ejkLWkNFb6qn/QAXoTMt0cxeCzS+ssRcwm2AwQ/NTMkq2v81cu3S7kKc2nLwX8CO16OmkFH/Qc9o4U6C+pexqIgCpHdWevcEeqKVsIN7NkMCDuqTHun+jZCW6ZwgztI75Kx38jwBiPP/LcUbASkyQKX5FHkhI5nPZztQK0Cti9bfyUChbCzw+Ts66sk1exjSNt883zuVIPB9bVncPDqbP1/RGkG4M39n+qY35Mo3d1xihm1HpT1RlyFM3LrxUp9EcZlUqCiGfVGC9ZHEByRMRK7FGBfNplTd97T4I/2wFd2Zg7RP8LKp6YNaR8p/EPCsLEjfWBoqorQX/p9tu9N1caaMP3WcsYExwU3kST8jqZCt+mIFaQ/FecSAU/HEgkxxlOBg0R+PeOd4dU5DyCXtwcEmHCiDIH/ItKADDVBphJCU8cf1orFqNu3hNNmv5fU0e42Uf8K+rFVvZ5SxgAfztn4miy/9knwc3RV0oGR7UPcsyLFiS+k+uk9hdZVwWtY1OhGakPYZzxl698YXpR/aZC2pCVrtbfK7cLUTf5/jM/nlKRY8noxkhX2ZwX3IPU5J2yiQrb6ggmbl1+bA3ntZZXBuXRo2rKomkMTIFwfV25oJYn8+q2dbZ1iHyQ5Rmu59mkCPkxP3PGtrwbJC2GoOdEOHcEX8eGgvEt/ctf4j3NjnxuPl3ZP8SWbZehyaheMf5LwQTu1P29BHiM6BUulMFvKcpiWcUr1fPdG/UfHwiQN7JXoQka0npOVuAKNFY74xkFuNMXeBjdbm2FNPXdpLrqID15/kdhAI2YcOnxerdgq1YWLWuH2asRG0IXekuxOSFckbmP3KxmEfA7U8EEh4n1a+436jETFioxkb/sGfC4dtC9+Y1BNYsziFR2Jq33C26HHTSCAPcX6aQXX34pEh6NyvFMrd+GhwB5299ht1Wo9VP2/MrG0BgAiaJ2bNacIYDgAIEIJUr9Gz/M84EOIYgNw8N6IpCIEfVVB+dZkNbioGUb8ffdv5Z40rcHXXvNHjVLDMTkER3wLsJTQ67qF1UxrQo+lvAqB6dvVbHJqiy3urfAzLmjCahUqTKN4PmYYfeN0FNdQHBynW3YZP6RIP+oPIaMJnnh3FCUPpwOxxuHtKXhdAtFKqqHxVtNaq8fELm1e+gTwNes2hTws16eDpHjqT3Z3tD2+dxzIUcyXUilkRuGYCdFVyIjmPSo1K/YDIRQx9duuxuobeQ7iXizdp3cVbJwKnBMMSsBqyIlcLfJYgRZH78w4ASoKqMX9KPGSLnA6jgIy9KVNH5QB6jZYNx9nY7Qm2vLYMuqmHdvvM8Wai7ENO+if2UJrLibW8cFgdLV5HfDztBzDPV2EgqFeJ+WJoACZ4xiAasxnrQKqzelydJZ0F8cVB9gqaoZpKJkflLXV4IYhWuJNWc6jpEyUAwmuesGO/zZp1njLtQrkje1OFBpJk2xOTQukSSroDORwvOsvT3MTtdktq8+Cro/oL4yubTMbOtjLaqtyBtBUjS04XAaAgWppX+ey2CHzsTHh3YYHX13T57y9SG2MpZfWIJhfLkImlVEBHG+eadjnpPKwLLRE02REj15JpTI8tUhRKrszJ+HjGj8rBeXr+m0r+9PIOoR80i7k7C3G7PuOWq2skwFhglao5mK16HAOIBTmUM31uGApLPZpHGsyartV8nTChdTwxqpg+mKqILFIblm3yWoGk7qP3ULGzXWdW+4lkQQCbQ70EhfmxkCM0djA78esXDTEMsgC+O2roSmzX62H/F9xkraLft5qbrW8FMUh9/t4ra1QwwZNALb7THH8sJWNhMBbxWtXKmi3WoYnHyvHawi62zW2o0pngfJX2Gx0A9ijuH61RIlEqpgWIuH9ABb9QoTmrbqSzny4lsAhPcTLfj7orRws7bz1YdE+K1K/iNrN19qtp/7l+VJtFBLsJmHLLmBP0zs5PkH5WCqRWCBp2mCrdS2IiBLKytJQlIFIBWGaBc3imOb6mPIftxBOKd3SnDS2vKM+SvEJmGuotNYiWZfY0mXB5iU+RPm3keKt9KRgUUimaYj+jmym8Hd9w8j1ICz4WErZo66hpjcPB7h2MDrACmAf3PNPiaMwavkCcpYxs/87fd/JkPWlYfKJxAa/ZxHsN8x0NTUHqJfS9ChJ1Hbp5ATYAYF5K/KwhJUqroE4E089yJ6dYX0suLImzBjDPwWKZMd9Dy114oUCpAwglyyg87EUNs4hC3Ify9PywVrYIO75T3+I4BQs+tPvip4Zfwuc3FDHUnl5WYM7Y/40de3As+YYQRhH5MBFhUlqKtkBr/Ernuh0/wtheKYUelVgwx0ADNxMtzszCGDzCXM8SJACMlB3aNLUu7W359zBIj+N4Gz2XwZfZbT6J80Nl0gwDGss8r7srGs5RHXlvSVAcAt/I2ODoTqbcyDIEsyifG5l1vdd26tEhcFxA2mx9GEopdkKDp26HIlTahOSlE4AykEEDTGlAI4Am0kyA6swjIUIHYzpZFb1CF+1pnqfjwS5K3aLyek2SEji8tnSbkPNDfFcmi8egD5lng/daY+KykCEFQqYYa9mXLo+WoQjtQkgsLZw4wQfRC/O5S76KT1ypSDcIoyEpTGIamlhwFg+bmeIQo58fmXHC4KSmbIVroTTfVHSPc2q8mB2M5EVmaqKed8J4uYXboujkDiRBDhAtQWrm1NjrVeIcKXrs2cqyGq9/UM6KdY/CyynZ/PY5g7zreQnB3w5LFxBeQ9PTrNTpR5KxzqdBYcU8uXyLOpyGgZYgQ893tTEPaG9B9oQGJd1Ep7BbGoqyUPOTssgF5Xjo7FtGUz/rBVpwT7f7S2a9RCFyatc1FfJ9bNDSHARbRGczV0m3MzD+S0gAd03xbHB5Xpx+s1CIKFsB2N7fVrpxtzL5ZPYCFWUny7SYJhQAtaKPCtT77k2ddtUM7VqiTVkLb9eBCjdWCl9HIP9FvDrNTOUpm7Bzyn/nIX+mGYY9LKvU0vVxQqS0Y0yjyxVATbymOBJj3RD7cCDPxYrWLKQSW0n8MWkd6K/3W+G7gtjdcZ77oohwvLygDeL1heyOCpFCEjwvhAm80i9jx89x7vbWZ8L0BKj7YpzA1gMxhCfh82k1FteygSYGtajVtdggI2/MU1bZG/MKLd27HKQ2HPGNu9oj7pPMZBI9GPss+javvB5W/MJpLWmtGynQ3YrHXO5Ug5uXMVuOdi4vU/ILu4kElqaFxAx5OSMy+AnG4sNogeye83AAeKNo2kkVKmP75SzCW+MfAauAT2k7TuXTJ9WJ7iQqp48A0pPcC1qxR8JM6GV6uCVCOpn8wb6RuJMhjCPv8NQeIpOvyrAk7a8Z7s6Tld129ruC402bqeH9Ze10qIyqM2iaK+K2cnIZyZ1ln5helGjWkr1ZQqumA3MxgQPAJYeeYchGPJ94+mhLvrFLKFbQKcScEfLgNkG7WfjSJbCJwF4IVwqngMdlGrtbUR5mKHvO6tjUvFZ1odvaZsdbJnUjJAkq7e3lWZYN6Ofx6a+SKhAfUdEtnkSHKkklZEyt/tbhUFzy4Y0mtqjFBKwh1rUQtfIAl16Bhs0YEYEW9lc9Bx9xp3kAGwVgfFw0ptc2GWL2oaCbKj18P8IqtIq0VYIUPy8zXgEGy2RpHcw9ge9wovcZezEddEYmfdEgnZwEVHgQ6cMxsRnFq/tZjxna9naJCC3mwgnSnNWl3eP6wId/s5L/UA0CVmRO9Ny9DtYv9fOpFLPNEz2421nugP/pJSfHzuAKqU4sHUzTm5IbthGBbH1rkvIvzwhZZCCRGc5c3xPYUiup6rvx1j+c5pXIhiDMHYjhrGs7Iqc6ukArRPgHcDKikUD3bi2Xnm+ofcW+AYr8yrC/wil8m8ouo9CptY5zQSPUF7ugy12FDnIBMsGMk3t0mVE9VsqxxmB/Ycjg0+AzWsDWN7/DeRxZlpos/+s2bvFv5z547JasCjBUPKg7g1ZZQEb9SDJQ/hLFChLIQZSwI+t5Fb6LU2W5GWMmYjkZ8bvSph+uQMIxBgXyKeEYEihr6ZZQK9bIy4xkSp70NfNDPQ/jQqfVqQAaK5n2p2HCCfo8HpY+xK7iWH/NdPh/ivLclOJ26eVr4MI4owFKT53i3y2zpp4gkH9cyF6Kkr9f2JRthgz3BHi4Xfhp48h4Iuo3VevjP1ma0P6BsKwOAP+pbKANX6xglAXEb2k7z/xWrLQkD8sn4DUbnHVxO6BDbIoP/qL5LU1ml35zJTEGSmq0erPRD7H2zcQ1jMZfcD3O8V4yvEjO/Lvo2uemBfcjpy8rfiGEDD542E8+dWfsy1UbiZMQrWxepkLy7hyJRLkNHkeEu/8Y0lSOdiYoEznmkXjScoGZBkMpBohvINsRjz77db5Q3m2Bd7AeMGmm05XzupDc+VuogXBpcP1MA6qsgJy7ZYRzjzBFuWIGB0A2XZ1jAUV8xqk3IWk4QZwiPYhHsftt1pExK7R8KT8HXy7WH/yDNDE2pbiQbqCskZ7lFfjEGMiiK0kBHE4NP+h9cPYrGB2ONzSNv9pLKr59KF6R9IMdGtgz+odk5yD6WnNIWSGvfBPblH3hwH4JBE0BF+p8aFW4G5UKr+OOzYWUA9+Kgcd/PKIGW94TVm5gTlrGwLHMz+oYGh88cVwZ2Y3Mo3iTSJCVJHPk3pObdhqz/QPI8q2sx6vKAnZsawkwXMDnWlKvvSgsm11NeGfBWtuNoG1yjp81i0gB1KwH2ZBtxW+W86sfOYO+Og99mhsLJibfjf8aeBOqiYVJHnieWA5QGQL0s8qS8k9aMVCxrRmGFC1KFtnmakX3Jo6vLEyKbJ37L5tYrJ7ymiIdtQPxcqWJqwdn4g/asAzelnh+Nv43GngoXyoBFDoBOV719PQctvNw+rdSojHhRA7+Bs2TUHlercNxTqH3I2ixmVoVRUyMaEdL2S8fRU3pHGxt2cbDLkSv/52pGlUaAuFOwyHHRHEkonh2SIBrZ4nkk7Rphj35ffez2unFM2Nh9tdWl2Zom5AhefHKMikzhHiZiR0cfPtMDEHPWp4Gxb01oq89CjEjcZh89GcNtqEn4kMqHp407/aQ0t17FgHm4bAyrpPFzJlU7hzLAkzWXh/t/J1OnVU22XqJ0tqnWGEkTHLSMlNCvwDWIrTYsUTKPC2FsH4kyCbpAXSLjmpkVvILiPjDZxP3TjRnY+e9s4SLsxNqonRPC553OfTAd6fBD9tpyealOnp8ytfJifUt/bVbunD8/LIEsLbzLVOkdQPjTf4TvE2v+RHB9VMHnzFgBQGuKLUw1TftDjlKKN89HL8znos68UCFdL87rY75y5sYwNMArdrvJSs8+fGSnJAgIsfRqxHly/EdOSlYkeCPXHsA2qWApZlK9DOVoY3hDG1HBath+BT7vGbA6mZrgYc7OzayZ3CAOzXmCzqSb9WKy//UQnW3ZQt78RSbvS4DE9l7Yixkg7KGe8yZMNogObOPl8OJjr/tDZ18B4sIiZTGUpnL/Z1HmzGUMb/CJZZOPQPuE95eMjyxS1vEPwV8xqvacpQoMQThgwDSpHfGtvi1zhGqhQ66iLmEtVr+hPAc93tpOYkZvTqBlWdi7RYSaFxIi4XBo/bepC7HXQ6rzmHqoRPDkj3WLx0/m/iEIb/smZEQfjurPXIMqA7pzYx8eAhmj95rbcGvYqDJwc+lan5CBKzdGayFYqZngv2xs/LD2PtYlDG1FaXYhPcvTaIjcBtNTxDn6t4X9N2+9OezscZBlxRRXD846PV9d8r+VxL4x9IFxQJMJlAIEdxkas6VVtsS58F/lwiatPbZ9oRU09qJJVPdsKpaEFGrhnxuT8ZSThw4SLLhtqLCBU20Z/s7aWidDPUlYfyf2mf15Dg5u+P5x5vGyuSP4Wlg7MQ/OpZf6SzVgcKHhveXhC3SxV9aysXVh4Ij2yH24kIAQF6Wby+zLXQ+/0U6Gq7OdRycBoWtdakKo1DHGKw/iehoQQE3wbgmfGE98ttxCmjLN9JK6B3qjA60CBTiyt94UceqQ2dyLdjoCCldO78ySZHmfHUstlFSeWjX4XDdI39s8Pu5uScZi9/TrK2nVIszv0wGiipqhYAA7hUUnkNBLtx/BC5aDlN2EUjvxZFAgk/XxxkbPhOvTtRcCj3fzn+6KpcJAt2oLIas1FMSrbd57dJXnUZo/uifKF2IAzxryPZkaxDRLKRVb4KnpNBWuihRCsjtgZduE6CA7M3Aou4Op1oFRuvzf9rF22vKD4Mg+asjf1FVT9Hg7XrbzE3uwkdfMWrQlSyOkrteixozO4QXXfSJbJlcCWdCQGYLXwH8DhzMyEKzXbKJHSEOMGRGPsR6O26+tgXgvU/USXqEIqqYq5Ow2YK1b++z3zynND3ZNj6ZTPd6g40mKkeADpW2n+a1ndRR6ChlQ9Kydi4oY+/Y9t/Ny9V8PuourjyrnheCNaXh6IWwvvSrG4uPl19ULRcHqCu1dZwxLcHYxTTdW3oP5K4qWTpGaIepjnQi8lSvsdsuKK2ZBMeRH0NTpJEtKSrMmpFotpgNn+Tj6IEOs68Spzqd7d4kXhQIOSSLclVGLwxcQ0DfbRNoah8GtJmtG6xk5QxixsuJW1VOkeLRpJCSHJRQ8iKySRRouNowJuPePIZ8nQ4SXGoAVuH0C87WFAvY+zqRLeaVDg1hTKNvD/5hz6yO4pHd3L76p/5OCIcyJIXGV5vyqPL3x2YKhwWXZ46IqtBQ0SiMpli2hHe4Rk/SdBWPVVBRJpKaD9FGm0V7CvK6p8STy/bEmC0IyjTw+i1h0oq2HIsfE4KjhMEYeSMC8T9UY529mouSMXXNHVPruT0QGEaBnVESxOiq+xGcGHwunOCMeW2nRpbNUIRp0gJf8+aAGvOvbYyeXiabjiI70sJIkRuBWP9JBxnEdP6EH6cQuWIVBtkeicXmoOwyyXIpRQLSAl9WrvfEDY32LyOxZqx32Q9NkZGztEf1SDnJXgcgfhWUcWNypj76fadmmYZ5aRMCd3zWAdVqsSEPVXiU5VLFO3tZ9o5mj7fZNQDtknvG0FCM7G2RfBS6LY9+UH5dAQ9sWP4ibTH7tGQoqgFUUinmzd3bL5oewVFx+iCpLEE1PYRLOFcpW+jALKKf7Vu4Wq/KU5be5bnxguOUV0Vi73dyHjImQhEljfj4hxLzdmivTQN2tBVGeOZ6elmvruj4XPCHcu9plsmvnq+WZyrvqFqsQBnEbR8BWhYVXqTAScC8IJMAo+gJZZCtxc9whkiaCHfDjKHNcseoTc1rD4la7L2xaT/Y9EyiriVGvmL3WfxSxEib7C3EJ0xmwXC0x0XjIMxzqyiAy/roMrvFsoldE40V/8WV1F2JyFIfDJzrpV2nWpu0B+WJMTq5YUq3om8cfRZPEoal4zDGNbVHbY6kaZSTk5t8mXkf87mARQ0GkaoH3DTjIIdeABI3GpH3ftbG16fE3k4sGcv4utvawMl4wrGxVfn8g6JK4VNfAgMxvoQHjB0mIwKKnjEQTgGX1bZRtvOheHlnprOsg+3dQ6NdhAJhl7ERZFldtcvBNkittz9r/jgol4fnJ+BMb+/fw/2kFxrRl+0ZHrnwmQ3ZNpoF3M2YE96PVHgATwXjbc7mVIZCWMSHYCiikhhGksmFnhbmrPoIx5Qan/zmWKu7y4Sa9CEu6fXju/AgqNXVBWvmbUub3ztN3C/7Dzw8PziUrcTV6i4kRnuWYkonMdQHU/8AtuoWagdoDM42SKEuc2UBnh7T3OYPDpB6t9JvS4BrArePcwC1yfaJ6vQhQqS7pQDfh0hu0x+rD+HX4BpFRUN1T6pG0B/oRtHytlKuszC8frzrCigLkas0zVSRWHges2j/pYLB8bVUbGh3zQNpQs0dDEF54s8WlPquY05B91lsq8h9hCvJRkempksbxByIdXt55/yJ54KAKR9rDQmqgC3OwC91sLOaA06FHkfSjKtv/k3d8kO/JHEuMLv5H99IHKf62dDCefr5dbnMaGOKVXqFtWzYklQ7g8wakkwcSZ9UbmZLO2WYb7tpdkwv5UCjftRSHfWJ+AkH2rWq0lxL5+CpGe9/A5GYvwr8JVHHxNWN1jvJgVb18TF0vK5NraUpCbXn18+UyjzyHTDKXMe3ADC++BZH0yt9rYc6tIrdZ5SXuS0/jMGWGYn/LzYCZ8nABlnVIJaqqXuNuE0zolnrSFIuMejNfJ5CVduynU4aVIAHuSd9GOZhBVgxZoFohOMFBbGWpc8+ZNFaVl2W/DfkWFbddsRKdNDCcYqYco2Ui8VktWIfSLV2fC0VK6IhJyl1jegiGqU8H8BnuzTJeOiZV7RwB9iO7gFZe0ewZXjQnDNGVUckvJteJ60H33bEe6bWqokaOjRhyofC8zN1vRYHMAq3WyNYBsLzkzdQPd7rDnQyqCNv3oF8wxLjASBYLkFJcnGZEReEIaoK6aGaUnEyZTgkdgbCw1tDgHgYKmFpe/K/3S1tZN0a3dntHVgiDFFXFIVyzbB1UTcoZsn5z4v3NTd+XPwLxJBqIH5YA5ThKS104x65DfC9y9Ax+di+L406YI1yj5zgSt6lrhysPwD/Ftsl9ap9POUTOahoI5YWo9nu1KfTf6Go/gdNVnol9dmbNcHMXxFxqKim5RNWM0/isq9PKsYsQpTlseflQvEeiUvqyInCX5p3QDHjzemWxtpF7kD0DKCxxUd8of/mno4bK52fg7wCEWkXMdeQ8TxFP/snerH9INoaVB3sdJBT5tuY9PFbU1nd1HeGUlUrMnW+aaajknfwrG//ZJwGeqmA9+8W9tFK2EMc6/BXA8VETSm4FWo8Dq16KaOwCoAkLn4tNA4poV+0rjXpJdAxXbBfWK9dDPvsUGrh1vy1fBgGiIEljTCexJvfW4kuVMYecZiiC+FJlZn5weFvpgWHVP3TNzAtqRUGaws6YrxMkIoR196Nt2p1dy1INJ0kJH1co1O6yf+zwNYsm0DDSLhOVoJ2xEBeiZRh7HIFiDgdC3dzps06k0PrF39aY1BEMEXfu8N/zG+BWNh2Pud2f7susgwpEir1jRHAe0NNFV4HiGT9fx3YsRC41HOg2a7Xh1z2ZxRbOg+GIQF0/b1NPn9W4gCBp8+qlRg4kT1JVm93OWYCChOeOIPIMwxhVpNHm6V2F/h2L4aRXDAPlb9lGzG2L9y6d+X577xDcXqNCm9gcNns/YRTEqos00wCNZajUzXAbnVL4Wjw+ks5wbsF/ouyJ1ehRpVVdBB08JMGcYL+osFFLDibjWIzu/BCZxjGzx27M1U2PYtKVzlcZWWj3TumRsS5ZYdu7E7HYv0FkmyXAreOyY2vakJcYBYxNKhBLOVp/yoobzS0VRdPUOZOODmDl/J0MI9IhkIUwk6os/Nvzh6rKuCA17KcF2kycCVKYjk2hWNfN03h6lwU6fqzjB22vZDYuRQ8tNOEcsSJFbS32X1kLBTIi5oRbYtGB18Yjp3dWVCMdBu1rPlvnflJ6KU0YIqKmPVRsuuh3DNFCaOW5Skp5GuGFO8CmwpfGsT+mF8C5kV2Z75Q2WC4eNr/wXFpsyS/jCbnkz/ZTePY77x4Dv9atD1Wcy/IdWuY9AzIsw+jIi9kTJPANBlL89hWP920D0cJiX3tgWYq0RPIe2+SZrUt5N5RfvTX0EOgnQiUX1G0EeFxtIdQoYwH6pfoi6b8bvkOUQRLklW79AW/6LKJ0mpeRfz3ekK5AZBy8weRBrSinKm8VeEqs9SoQQcAgAnhCcDXNFedNxbR3bZrAnw6xnsxFVBFas9Rbr2m1PmiO7ZRRzffPb6/gNj0ff1xRmfo8m0JEEdiAXYcFCYGYcuiB4m2agegxm2ecqd9PhENmLVNsizNIXU9Siq+IJ9QWct9RyQegozJqhZ54t8QlarUyljxNC5Zp5LX7TqwcDKVeBDOWT05grPT1hFI/0VTzmVe23FJaivVOL5YgQYz903asT3lmJRcB3bNg89dgTvLad8Bs+A3ovkFHmgiEa1eOcoYwUaOSdJemG8FPRy3SKwQECQrjX3b0JPIwA5Ek3mAEvXyqVt2446Q5NRj8IMaFElb09/wx8B/EiRe4xvHrYGA8KG0zepM2sAeNY4B3lyH1/52PrS685h18238DrM4SHxT3Rlh87HYTPocUkfVNBM/hUgwFLBXkMAnqU7d+P5NP2BHrr6Ob4ogRLiEWhmo5+4fd52m1rIjrvVJU7wW+sOHUVdEazf0RGvU1KEwOnR5Cq9ZwxldnyRyeFQEzhBhhNM9pQJHPsBGjBOSKROrztTVuUD0YVtGQfLiOlCvQIITZAI+9SzgZmO0ASdUKhVQjo9jS0DJGIXY8LS51OQTsMR6EFymhBMN0/n/0DNMFxSNFmOAxfe3coerhVnrIqtzxpJjW/KN0luzNYN6A0SG6IFcQcYwnJ9bdpBpBrPXDSCehEjecpDHeb75sdklb5rjsoS8dCtWXycAvTrHsB+dSFj7Yh2nd8h5R5F6ShGgSMSWnk7ocg+tD4bGjImkF5tOhZGXpHRNW5RKIp2cEqly9K0rM8JBWeu1f6xz13t651bMwAm+Mz7pJ1pIws6VHATAZQ0r0CvfIeAg52rwuHZCklDcLha7rUsgaJdKujoyl3YdXVteMkl4ZF18NMA3Me3xKNW+K5pZh7Rs1m/UW+mLxbcwXC2QoHuBGueWyjVdUoJRJ7iri5DcEdceWqIhJoyjijrtxCpZkEFgkkLARD8yiXp1Y73UJt7pH7KDP4BP0Y883CanLQZw/9GGCpzzrEVfsIfdBNhb1BTcOTileY68mzBLcIXDiL7s7RbAOpiQiOKCTXI2QO9brreYll1Qz0YU7AftSSqm+zft9Nt5C7Z8LCFqx0fE1KsTabZhUf+qeI3eNsjagwLAtAr0+F672t/6OiO0u2OMd/ic7jeQ/3hVy1OdrQlL+GXr2C+dC3gay30S1PLLXsGUihcgeGJZhuXO5Nej8+AiK1kxfJnfDusLzXo3Bi+KcM8KApGAHkEr5h5GsbqHCFjEKOywJ3cjvv6ZmxQT4hsnSYzqmeRLnP/KJIU6+3ZvbeJ+pkxkdDhJkkyBTlO1rB8Yzv7t42jXQuJb8K5+AO9in6W5FrTXZufqhXfYzbI4rVYm0T6LrTpVOu98xGsGEvyZC2b45ys8eNNt4SPNfaj1m8GHVqiD+y4myLUh4QoGmWQI5xEygJ839T99g6X8Ti30RZvCPLyYJIp09bjadrZCwcBwPKx+Fg97XfxhoXY8/AbM4DCnwE488C4XYCC5E85MR5AYhi+0Fs6ts/HyOSrXniabJxYouzeBlTtF+wzUbnGO3EPzwiBNjvBy8dGX1D8VaEZL67eX3Ief+YKMMNXY1cIkfKDOLFD3UUyZzWKBQnmDL+FouNC4aECEN0LDjlC8TPiqOUhgcUjbvOf6L2HZEnyvL631dkQiS1UHjHk9CGYqeumpcY1BNKj7aKffrW85AwAdRJnUC/hetTHM9xLGqmMUYUHY1zcP+Tm3jrmCft5IHRxcbKjf3/3MpM2Ra6aDmus51fdsladYBJhBIxWvtxQ/KQ3iJ8UP3zNvc0zSLg+r3bD86KUVUrDDDAKmL/HlkkRr6mXutPWu1KtToP77cg5Lk2ob2T/ByTlTFGxtDMf6ZqzB5mWnD+8gnucZlF4hOn4Lka4vBKv52oXHU7RAS7FgzZON5e6y6lZs9okY3u5iPh2wVd99H7Pk4JP9TylJm1OtrnkoUymz1e7VpbSyuF9llacWFj3UgJKHhUCagwu9NLH5cpP+gXt4aRbMPcgksLu8SQDfmgcQiCXRj0XUJoZnkgUuz5Q71cLrS2VNZIispOtssxdNGXV4iIMygfIw/GYl3Yke6OxkvV2LnjxSynwkn3C8NVa+5OoCvKWDVq5FpA3PLkUfwxg0GjxA/AzEgoKB9MeF+Fx4CvJnkpFJE4BvF0n1oLFUy2KvF90xS/GibPhUxO1Z0oBUB/xU7vX2YgbdNj/jjFGVtr6smpmOyhktzq/i5/kcnLY7S5JHDedVgVINW10ZRTBX35XgeOwBPGl2MAcFjDLj/WW/lvyehUTzACbUgaf2QP7ZPHtmVQ+2UQcACZ7mT2L1+BYBG1QnFfhn8qm4oRb1FaUvYIzBQUbB1Zkca/FjaVHWuoCyz/ZZznV+ohu8ci1rp69j0aXEs3oNeTK8FVOUlE2fmjOmPzBlDnunWQ3Aj6fu3QPkjng5fpGjIh7FbHmTS+gfGGu0fGwmMZBpekg8t7ryOa3I1TBx6Ush2fzJq4zjUobXZ1ekDjiTh31xQ5i/vksAyF3p6X8NySYYMBaim0WgUcPQh8c7XO7R1IAPTF1khBxzug8CHmwweQBUWqj8lfnWLtEfK+71o1YqQPs7tPZxmfINaCWaY9uFYHqyag30X96ww+tedKSEAP6FmahAr+PpnmOmLXiNIBAniLAeAkOEWAD/TRg9XUd4883v5rPdgL7OArOORcvhGcnzaXrQwpQLnDRlEnN9CjuulLlt4bRCwBXPLTkkG4oxkRZkCAzA7xDwrf5VmKN7H2AQXgYTqEIV2a1IaZ27sZzReh6KtyLrM/fiE1xDUfzu0NK0UcYv1/OAiCsAy/Ov8AvbxJ3GBSgFbuizQ6v+0lnq4aEJFcXFhSn2SdKpk5s5hIiBZRUDWHpCjGU01jjSOBjFZvbyyNzkhlS2kJ6xADT820jS3yQmeRVrf64bhylz7N7CZsmIQTBx7hm0mY8D39jZngUhfe+JJO4+vI2twQJNV6y9vV4eP0al6DZtn73Y7W8Fo0WY6AkyV3xINAOx1dORa8vPU0B3WhsuUad6Wy201QR/GUJxwQSizvYsFWAqK6w66VoUkwLV4CaBdwtv2kpjgcxO4c3I3dxALtIEj4PE6aAvU0l3LaRtJIWp7WEHTXvv+aw1dERVtkA+joJ9JvDJSF7IX+CTe7wZ24up9eWy/wdvIcJ7SoZ9CRGIyj4i3KiUSl/tk2Wl28Pxs0Xa5+BmMh32bFvbapx5W+1eraDP3LZZdjce9wZMtLH6JJOlTGLffkgfgtDkUuDKuIpeQlDQRJxLl5zsezbsmzIO+VZTrKDThxafU8b948slBeQ56BovZXgEUx1glF/bndANvvD5LzJE8DXv576CVfUyHYHm/x0ICDRl61LzLwWLqidX/2fIlAESFGJGJwV49iU+jzvf/s957NCyeNMzEPA+7nqbMddESCXg9Ub3yiieTso6qXHvPNNVnoX2S/QTSbfsyWLutoDhj6N6SBDr+0mt0MJyOWmzzN0jq3DDVqipb9cv6yZSG/vpV2BxBaEPnD8V/0mPBeRd8B/PvdzIN25XBuhC38Zg5JlCK1Zz7PNdbbD24QgkPxZStfXq/U+P/Cq+JY0bTHlD+8A1U7OgIPUJ51ZNX6exX9GNlpFIYGvht69pRgGHASTctv1DNiuyXz+Fzw5Ct8LzyznJtcMt/KWF6DcO3P+BWpDIX8gFlJunjQ3wmqtT71VYI9452bnCmLqnpYOXeKBtUVk+6l2iyh7plSD6YBNCAeETTlTE5Gub6cCIxauXlSTPsAZpc50gw2oZxBFRb5gd8YNPlrvw5Wma2RDR+tpkNYX1KdYh5db0RaSC8VPhPAtzFkETbDtD4d2nTNiwLuEGRW3IwSKPZ2rhMbjLYnjKSMjd/cgMnIZ+Fgul+r9eFV3+yx1tl+Z9g+BDmx6QKR2T2kGSV5M3xHahjOW4NW3W8VljCz5mnJLsHn6+jLTVsWXOhrKeP4o/+H5MsHpm1NbGmfryBc/5dtve5DmXmAIzNebp4QslAUNzFGbI4pKzHKPnhvi52bMBHe3KjJysYF3M7kf/Sdif0O8YAgGvFfQuXs6BMBul/1d71NOuA2qIUjobqVGcHDxocQkWxSwWxooSp8kL6uZMgPV5dHaPsC4HlLKCUjxuub1bm/FFlt7ew4CV5JP//qnbQQWPPVUr3F+R0GywF6ym9a8XW8vkLzAdXEg5Pk8R6SpIPo+p2n/4BeOaDF4od4gU/YU1DpNdBZ+xEk/hzJaws5PTg62VB+SYvGJBb3ivYnTj1/FUTlSqFsGJe9vhfbimMC0LZztbi2sQt712PnQKhUfL5jY4akuo4DDZs4qJfLR7hsewu3fGtwnIIOPALBshXJabuTsSmLHc+BYUWKApuaQpnDbxJiIGyCKH1aXYLPsHlZy38Vbo+vEDctMB4mr1P1wMp9jxYEHRUh+Qq5mtLXQSUlRlLDT+v/rqU/55ga987ogoKdyTgmNc5MJWAILVmXY8Pvwq19sUUrmploQPx34i2V+uHHaF9C3cMqEFHSsf+XcLdXUOuOoR6NxUZpplpJ5qj7kki8VktnBehTSq89bpgpMAgV0C9TFIe3bQqH/pwEy+hL+uCYOXYdIdofb2aEn32Tnq5/OVnWOGGq2bUDoKIfefdohH0K04cjDB94CNr9MmXW+biFwn10AblytUVlRgXaPCDB9kXbX5hLOVtIw4LP9g2K5lRpe8YATMUec/7TZku2E6kATrg54QSPsuF8sctuXd6szuKbIo8SP83GI3aibZHJLkmklk93v0LYW2DLP5RRZbUMFrtmOY12JvMBGywOO27datHNgu29uJ+tV0uVsCFgLq/I0Xbt+Yh7EoFRfzOELh/mIsGlgoL9yy+MT62mzjXjPYX5KxCVauvXAz41wQ3BKjgIeCiqXu+7yGZIX3mqPZP5n9EPJuvSb0rH6w+TJnqCMj4+7uZXgTNdW2It7p4V2THV2zbyw83fJz+ryWUTqpdFjgeRUPWal54Pa1qd7VHWQQULRePLlirOFS1aCWrE/6m+c7pD/It4r4jy28Dk/CJVQYrzO0FS9sQK+iP44DcEKBjF5U3k1zIVjnQfwhFoo4tFW9Nl1UpiaS1C5w74VHyP4hx1bIpB5QRk8bAAFFajp83XXNCksoeoI1/lurx0T1Xq6qt2PzD1NvkqlU4pNpWw2bbPgicP/8FXUkKO94Ueh3fQrDcS7RJqJUGVhTj1kome7/evVyJu3edlE75UbnqeizNWx7RDgkKAWSILSiLlKxFwZkvALLGmMdupqSbnzBvslUW5B9e+YreshWuX2kogqzbHz8q323I1lpspUTlFvqsHEllA0I0UWtOAuU7BHq9aGebd9r4Of7b/3zZPTwf2ai4noE0I41qM5nbsPqcO78m/ytj8mF+IXEO/ZQWaa9sjkv/sxatnvDSdlJYv8rCenJUAomoxPymeniE85fv87BqkILnqKBIn4Xk1RvtXy0VhNekat/HKIIEKe87TZVeCN5yw8UcMUos4AYOALIzDCvQhVpp5/t3mnlpymUgmoJ4hxv/yeXb0yZDWZBK/+zjPdz+7XP2OVexVo66y2N7TzNvB11lWzBPn5zjM/P6xI1rbW+XZwvfMHyCNv5NksOGTBrf9bIDi3/FOBGYt87uJItk/O8wtk43a3o9IaZ4ifP9FbPuBs2JGvtEYKZkUXdCLsu3T36cwuWmoFFyRRZsoHC8khLZG3GX/ujxqeAkWPJDxfcalmdyiQM0Y/Mssm9qu4gfVk55CYr4ejaD+piYRBk/RnJLc+OnB4+/nNs9m/DlmKE9b1oihXrZAH8IJjLyWQk/q6Yh5ODrsKrWfo/KqpWBtxV638kdS9Q5jq2hiNX1egzcmbZDrntfsqhzAF5a2yYKVcH6nkvsBZnqAaqCzrMzAhnkGhoU0Un3Tdh+67b9q1+fY51FcDH6aZtiaLYSuYfrd6Yfb2DDKqFl3e1CTR7R38brSsHx5p78L0Jncdz/ZLuVqLG4fpLIF8N1tPHjY68soFBgUrOTOOeKP5ioQzqY6s4LwJP5TQWSNCvWuHKN16huoE6cWq6vTMQb6JIU2R6jsJcNISt+MpHZfeNA1yyyjoGuqOayrlEubkLTO4unC6Vx+bIqivn6mVTghCAhotMLo/I9HxhCFdx/sEpVXPasxuMOOmGlWZYLOOv6glfj/RgD2vTbDkPMFtU2eo7xAXYa09LuvcSzPW7loreZURPO3LUC3FUD7Wa+IlT4lZFE2JFyZxIgfPq3tE/lQH17epQ4JrPCPA0ZKvS5xzwt3+gRndJItLqZNUNmPUo9/nA3L6iaR1aEpdfgY742YfNEL4SxIBlkYETSfs2y+uipF6mP2baeq3HUoskiG2Ysmt3hodpKXUJLJFI5B/BrSx17CsamP+exIIvBWne2AhTvofzsL0dC1lb5I9ZKKKI+SSfCqKtq+SREB0Xf3BFCN4t9H0wzHGNmzchcvgMyOF6Lz65H7tsGIlwA9pfwNem/aZMLLa5pr9jiEK5+aQL6Zu4RCU+7ROVAm66ExyKvwwB08h1LYDnbFA8cqXMbl0Pd2Huf5a6qWwAObVw6QyNY3T8mfldfw/h3HMaqps3Y8pgjNM7S6IhQZOh4uvHOr5DjCnS2DD2a2pnXFMkYjZHJp3Cg17A3vV1rpFIYNdKAx3Sgc2DeZtbunclsTPNNpn33mYO2Dz13NU27GoZ66A5gZ5hE6PLJnwaFLVRfsFNEOgQVLgGEKmrIjRGEMEEJO4MvOdQszWnYUpUV3vWoTqmu0YWDMa99yMvO7N1UqT4KXfJ1TL0nKVmH2V4dXQyNvS25DAt29ZQLjHthqvIs6AZQul/D7GBhNTS/dUq09yi+KI8DEET2pyGIHz+kFa8WOdxzFdZNrYNaG6Caeo5Ve3vIVc92NNMSvH67KbYIxO1JOscQInJ/gbgKs+oEvYUfy3SfCWiCdK1zMNT1WdGl6i0fJTB9IDhUN/t3F5hLbLS/iL+iT6N3GlaY3atxMGJFibahSaYrK2rDjuJZIY7FQkOFoOpIlI7ZGdw4eTfmbmP/2ppUWwjGYDFzUX0qQnQzLI0xq0A96+jgsufd/yvKezxA+D5VOWa3ewnemO/umBRS6KWdVBveG6cWjqZ0wQCXOaLkJPXkhmh6AXbE3OWBjg0gMjT2ILbIf4mBnj6nGNFtqyf0AJjn1FxJI9jH4L0ZYmArUfJ1eescf/y80MbtzackClFx+ZPuSFNLnxqytB0CX963wed+K8WIIEN7nXfARmZ1WJs1ojf0ubyLUGqy4r2kevHR50s5RsD9vecBDN/ROJXv8P9nsIyP9xztyKwjKFB+9oLFVR+2l4fiI5WtgJ2Sl9yFIVgms/iDIbJQqFknt9kk8VYohS2IfO7u2W8rKTRr6Lqe0Yt93H4bcPfB0ehgZZuHumeB6HiIO7tbqrdNC2RKppW1sGjWdb2ybkS0Hw00tDY+1C8qyOKkgomdvQU02K4ccwXz5B5d0o20RHG/W3Jz4vuDhOuT17ojE7Gj+xrNyOKJu0Seiw3bg3OyISjSdpsIMnpaCVuzyo3/Xe2UaD5/JZF20KwEgorkAY52EeILGv3amyzUZTSMIrZ8vB/PPViYvZmkVcGiSRswLc1vqJGdDjtiMNdwWVv5u7/DeQ4kAe81kyTGt2e7NnmvkYel4wqJeg/90RS6VFpC+ofkOFiRQHWqMPJ1WVRuuzhERdQhADT2eFjr2yicSDe5hn8lYv7BUz/drbWMO1Mcrw0SVSyf/HgskTrjHARBEezzjNkjSKP8msZUC648W/EuNbgkU+RoiTmYX98WcuEU5PLO4KmyzUj0ILyOE4nGd6TNpMlsPz3XPZabV1mJEJHSNToEVOIBC2QjGiaATkPpCKM3EpAkXXCavV4Ugp1fsVswz5DsBFaYkl6RfKspkSJj8AGTjzP3OtlEnGsS4+bRZ1o/8SJkb610D5Qmo0UnlSCEFG4c7kfw9+bxMPcaf0Bb2tm1V1+0l85mbrJMfL9rTot2yKd0bT50N7eEUb4g1vfnBeJfpnTmWmMVWGzc2hsA7KZq4hBLVa/g2H3nrfy5pz6xnC5HOjghUFgR9LtD60DTbmSMr1sbYA8SRguoWoPbzGmH/KfwLRZzohfpESPnF0E9UkAK/zbYq980RR91wadSatLCoxRkkn+SBiNCfgV3O+11EWIK/SEJMSrfiYSJXKBjwkq4/amUz0nz5+YM8j9SgX7uXUnb3GRFw29wO4F+fFfbEirVTnDs3etAh8ehbjLsASvJN4LzpsGUoYFA6nEtqU5htA9rJRUX+ta4RYLNCC0aKUJwoJ1Vg3APhyR+rbRJ8yVKwSHFh5isVtavFivwwO81cW684BMv/beciefAOZzoqXTUUSl2Gr/g+cMpBO2w2hoh9NVCnthv6RhxNBWhSZPnGA4JVXuObd6YOtvIXxGam+wwcacuEsSRr/2tqwIdYxhYuKZSEzFkkVfgdWpfKTZ7iJ0d6fa90haBrROq5ViF2+Uq7jW+C/5F55Gmp849lua23F15GQouO/IokOQs/JnLg6Q2WFLxGQpF7239UiLshn67bWHWcxCjtc6IkMheTtU8LvR2oj63p8SvTtm40G92d5sE4A6x5ktiitoaoHg4eCJK7goqwGjWMdFkGgxCSPUse9vQ8/xRZZjV4xarlbc3BefTjY04WRHeSdrWew320fsu+pKfniT3aakq8qMCIc2i2JqdWy95gSh4lRFuY0NQcm6HPBL8ySSWd6+zyQH3GboKkUVd/5r2nXZgy2C8bmlv0mBSItISg0uqFquarSaFqnDbQpyOok8LUA9cuWab4LdcMMD4FXXWBusWOfyRe6/LVbrVZkiqzRo8r47bCJd+y1xtIK4+AVallY0CP4zKaJloq/HwtgC80zDJUURF7gRC06o+6w9OLJjh781WLY006ElPDP9/Atl6wz7AdIa0Rofc95zbvRFGsV0Tsk/N/xxdnUmgSHw+E/3+SyIkp5/vuZ0TAQ1GRFcXozisFOFogKsEcn+9+YMcrVXHVgxIH2aWSDiTf0XupSqDvRESFhlLRKLUaW7CyaNJlR97QEYN/AAlmDHRHh3YwUgNHs0SZ9XwjKs6Q/DXbhuHMZixTN8FyS3mGUXN5UsuKYJbbVP9LNCJIKOwVTZn6Vvo5mr7ZTHyB5+lm4iDWj2+x9GMajwdycLea2u0gallo9PrMdDqjpgyjkXmWtVrrR68NmMUUGbWhp1YRS4QZn3IJQCnC6xmOBh4GGzhN3uc2TnFVlBfIPrEyCu4Ar9b17636dA0wYOqINwm6d1USSkGdOIDL8nkqMFxQrOxNYmL8wO1G/dvEKtjQvn5jOhxETRY1aSNQkydj/NwTbStJdaMIa3KBCbba5CUrrcmiKxH9Iz07kkLKpF8s1E9TfnaM1LlL1oaYNckUrGgXB3bADD7mqbEnS6NzouuTXp6O0xOBKDrGd0luhXn1In+YB2mNZ1NCxco5n6dBqroX/Ydet4CMaf0aWQACUXzDp4FGLsgW96qb/DMMSDkwn0LtT2jFKe56BlWlJOhbZwlJq38QAgEeJpJgly549WH7b+nZcRwDB/1uGXivaiFBFMJ9BY2YpWHfhODrUlKDFcSedfSeoqtsLTZN8i9uMRGULFtN+YpxPJGxrDpY6n8Bv1CN29LcSrwBFVrWyJYlZkM9SSihbXF5JxO0RFfvw0e0gdr0VqTaGAFN+5FqZ7rGKlrFiZ6WS7OqxVEqUT+2VV/P6mh2O3DkZC0UZ/E4nHDjv3i4j10fiIzdxjm1WcAIIz6MvB9CmRM78UUYikoyAPT+0mT0wnVOD3G8caVEQzdoIBOo0MhWbKeAK/qT8hhVaJc/Wl4G6IRxuwE7RMhAaRI3X7d2V0m4tJdQuqvlX6jqDsIC7zvrcD8Y26JWZxQlv2cCGmM9L/2vz4SN6ewG6IXtZJ0av452Q79X58xGT8r9XT8/Q0dI3SD+c/JvDYEAoUfS9cVaE5w4DCzT4u/VorhhAath+aysHh4XMwnQ4QMOks4QhBcQbjj0rzxlJLriQZ0YEbok7mFseOmdzpnlYR+5QyC+GMBj6kOX/HpIHjW1MYKFuZ1GzL+wD5rng2Hi1Z9TKInYfZiTZyig87voCePBjyoV7N4COpQuFbZSI6hSMb/rj0InOnNifwOWFFDUjJQYK7Qgsc5B+wrnY2BTtnYxc+COFnxPzbPtFeXMQm4wgLlpzE7IMLM5tXzhz5HfgQGXgDGl4M/C57Y3b+FbMuY2kB3N7IaMMN6SrjG4H4FsZ9oOsTh6+Zk+rxA2mKhl5HO8Pfu4S1VzBbtd2eNL2x7iYi5V4ufoSUKavIPGALPL6YQ6yjYfa26qMfu/d2hjQBh/JBxlGCMqBMdfHoa/IxP3tXm7lT01XQ2E4POMbUc/GAf2aLswd+5SzvS+NJaZ22AOvwLVA+nb47omisAnlwxvqh+QqwwwilB75PgV9I7AACT/K/BY5x0KrQcBep6T65nQ8cm3RUesHlNKFLsS4zZgy7cMjPO+JZyMh7qBCfTqdGJone1bmkASeqvarUHgAWMRmUG84idkY1VCW6+T0ReqfCJGYmPP9lJ89YC4TNiLujaunywFyJvQrOSg0Ja4X+wz6RuGzlwdhOfv1nXq8PWDWkAo/SVgVK43MNsL/Wa6Xn215jkiPL/iRRqcT74Kv0ubC/DJdttxlcnDzesLHNf4QIGcRTST8cqtk39v/Vjq+OfR+gvZFsDN3mwQk2mYxbvJVHxh0lh50T8kGMo/tQ3aJB1hrDkMwIF0Q03eaK/auAu++NGcyly0FnRB46W+GVAi3LypaJJ1JE9WHS2cD1wzvKnS5bs+I1AfVTCbpIIBdFs8ctS7n4kZea0Bei5wBdtS94QXyjBoZ+mcfwl5PSaJa4rsqhXmlJ+Vk+tKtLWfYLE3aoR86Hb5dz43oj9EGlyDaWmTar9DjT8Fz56a01Lbox3k5g/GQWqhb/0l2ZMAom9XMWJ39HlSDj7CRuXr6sDiAVP3versY2jyrGQqL97sZhc1rHSrsRLAY2STSrGM8wTYF9bp3wqPllqkozVn/yPeT7i0bbAB+gidZln8eotMBCIdw9laZXjsMrQZv/bVkOtODMk5Cu6W3EESWrrSLa9EhTAoSvddnyFMmG3cRDisocmUiaIwIMk97O6L6Lc4WnMchwl9c8IOvfHoFzzSxOLtY5/aE9gUqm+TkL9npXyeECKPruMHlOE8PoWZmXatMUK7UrzSNCnB81CJl5SaMBZuPjhNqd8lp/t/XtmWqHLCAtaUUaJbkIwyIDoEFAJIaT8WyL/UTyl8Ee14MbUQhU9zbUXlIZcVRdm6FEnE0QU/BT5Kzuv/nLblYqIS/RirHfGx7wPHsPbnEYitO2J6I2slPDPcg9tkgXqke8YMHV4He0vxQ0F9mdZJynrRIQA+VSWbsAnOCKaMpesArhxVp2q21r5fMc2FMQ/LHlDSPwPhg5TxTz0kLr7ZjVz/It/e5V3iLzSD3zb4GBqzthGEP05yAMy++1rIeDKx3p7KoDLGXgip55OkcDtpqpTgnZ1JIU4GyLHGW8GAt77rGB5ZvSxPk9bXsP+EIYRqllDZpXFPQsNqbQOnLZPrQfAdOvkhjm7fDU4HESKTHP4BaFyjqTQOyUQT7zQUldYa+p4aZLPVDQqmst3nDYLPGNU2uLJi1dGIBsp8CujEtl6rDLeqDjnGZBmFXb3p3NjWodZdZXyJFgLwNUfMT9tUrgw11kBhtUseJXNpw336mOuMbYs/9oYu4F8SYNZtbkp8glBOzRF0uKLWKv3MfCDXfZjursh+fB5HIG9NuZPv+9/XN2RE+SPiNXVn8bdl0fa/ITEiwnMaY58IX3vw0/dI3FMQAjMu1vEpEUkE2WFdrGaBlTmRD/nvKmfqB+Qj9yDgQxgfumU45oEguBoEF6OXVTnR9xE5RGCoScy/B+rq2C2yrTCHUQp2UUxWDNV3BpLcdE4yzB5Wxa7lvtNyHhPDgmafvoYY6Xw5yVcoT+h0jLxDfx6vubOyCDbg3O7WlFcv9fdwkDoGcdnOqrhki3/EsVnzgRfyhhpKyFKk+KboLLEO+iR6prePxG6ykL8ly1wpfCfUNsFizykSBFT/bNtbHpNJo8o2jNp+9xhD2PaO1jVnxdS2CTfD83T6SKVZ0e03U4cY8qq7zU4l3OMc4FAodRSQjitbFAkIIn0gSS+/G7kedMZUvCI1z1mFmD3GSg8BMKA4EmF45/RrraS4S68YazAoyhi1YenfbUjr5bVGkwjSQEVZnEHnE6kDBcBZ2T50D2u+YdQbJGBuKlcbnXGFPufOAnDm7cA/g6dAV6nvBIJD0+4Iv1Vi1KTPryTk3wqs53UlU84JSRPLNESRgRvmum0MEs4l7JUb0rZSXHB5STsFuMWrA1YmK6/wIFdJpKZP3hlIVKb8AlVb9MSBRz6iBvpA3kzHhozc7vNLNokUpXPebfQB1oBPz/nffCuSEwW7HOQfvS50ozTGsMGzbcZJsibv9jG5chD6ek0oFK1W4mW3BG0UVQFMFuvsmHrFMoyJvKgVNKhCEZXyO7aG+G3tuxKfiqSFYAtrS5gJdgJRZnULzYhjMP/MSM2DwGyAZkYs5jPx0S5KSjU9Tzhpkj00n3qEf2EoRu5FIY3XMUPTx7xeqHV9MrC1TztrAcTuIa7myKt4zfEZ8vQF/VDtV8nI0GvRNspa9oNZ/2UB9APL30zOQSHWRZZZAlFf32iCLY6dgxgwbx6oCT0Ci12sewUQsgLSjf5YkJqdLC3IfFTnxkj7gUCj5YkUozRFiCpIpNpp+Z1NSuL1Tx3RD/9F3/nhG1GPKBeyhI77MsxsgXwTedZjGX7LlYuhCcECS9TNGkf94iXoXMNaqkk33wi/Pkuu7Xg0Gy3g8OpfJHm44bAhB/tUpl7Zr9gpONiao86teIDgvUivkz4b8jcP0QzcXqUOtPc0+IKmnEIvgpxVpGMZcydwylJ3cBBsvuD8uyaH95yt17yKeMe/u2U4RsF6kU52p3Ak8tuIdf3ul2wZINw4jXMJltgwbO0+R7Awaxfxa0bDB78PyUtIQCNyuq28g7K+iZtn///9/UXxaPT3m5fz8hJlEcMioNfuQdC9FwXFYulPALsGba1e8m/1fpzB/vINtmWk3O5j8G8d8hGYlIuVpGezqgdGIBiFgGYPPRbH+oLCVyiKSgtWQLujZPgFOzNNJxxyfb7nMHhsU4U6EJbbP4u8bu8wmUgJrhfHiMDPyegJXD6xjbYctCK01ebhgEho1lBgwDTIwGl6Av9PWg7fp7jtKo3zx6xvIGOpxApRoZ/RXIATVN+kXkfvcvSXBFCS6uBFcAERdLcbk8iqWuN80UOHVlkMEUrcZmA2JPjaYzcMmER5qY8w/p3fwHmnEShBth66EOixT8bx5WPg9/A7tV9QvuTbOGtTAtP3P8VElEcz5nTtnX97c6ulnsFhx/3ycsJyGf0ZhB2DD2oyBfxi6KOngC7DhvrxGb3cgmO5tPLMxsB/hwl5gs9al0XZ05L4o7U5RfCqxZFdF3ndKoKRmNrC/hjE1+ACgznniuT2O5681YqerjoI7H/0gF5kp2r6/ilZpzRUC+kdIEctSoOlWX2PDCIzO9teiLYG1CUujjn7L804g9PeMvPkQUCdeoNVf8mgGbyNs8jz/+4RXunyKLB6JLq382B6wnojrAmEaKwgmVv+p/ugNAPGA15roBq6uL+NJ8FODG3XhOwJFc9yv3skmvabHnlO9vZAa9TarCorGI1ruAFKzTX+btw4BFo1WDSwBq3f471/SvCuj9qv5o8humQy1jFk2GFhPrND12fDnhEinPrIrS6TarQgPP+ZsRfnZEJYkm2lKgSR27keCuXFG2K2E/lUsv+tpZNBJBG/bHVwGN+UYXqRg4kHoGYgTJa+pei4Y6zIYwopo+idimdw9fVlde5EOCTmIKC1o3jlUp5gfUZoSIE6g9a1poBSUx4TeJBfpKSq/bFJIla17Rbzemxg3sMH4m42TXhShLAfqjRqPXFe0v7za9ws0+mSH2p8uvAMNWChDDVo/eh1oLgXWnPiNTiW2xpRiv6NXB0dON3hQPjLnloua3GxlRY9SJUYRVmco8EctT2oyRIZrPwCtPir7ioZ5zxV/jp7QMxZfe4EoCCO0WoiQhDEtttmHInp2XybWuS+Yc0BfOa8XZJBnGFuJS73Jr9zVaucoVQfCDiOyutSZA3WsI/jYmZd/e2xQb6ooUBeBFuJdxw3maaPrMY40GcYf/GWf4O59Nn9cpBuzvIxIHvtWnwJkRQUpOcByhyVtKfLE1K3iEqh89S5tF4IrZ9qyObJZrkSCy8Vj3qcI5ipwtieCb7KAUKd+nCosNWMxd+4iZEsIPCFX2LrZaFkRsx8rO5Zt4Tk53OjDLPKDbxkrWGjGcOo/7Ba7FRVfiizg5xGwRT+bjo54f8Maogn6RmMBAhIzvYKOcnLnISIH06heawXfLcusLQgI1XwdXiNkhXxHl04Uf3T4xtE4LCYaRHOoFY5JLAxEgZlPa1bQBCEJZVV5kC+q9FT+n27/LmKJejn41AEGsXe7qnIpm0qRGpQ7ZTl3BAAMRKx0mNf6QP1MWk0fEWqubkJbYA4ojdE3e+CWYauqBqhoQr49DCXwT75HWzAevmqR5u25QifEB0X2xA65CHKM0Ttppkv8jvrGAP7CKqKSHW8SzxR/D0OkpoBls3QNtxSTokglnuB9NgLUUcRwL4JTLhWTmAqP+xqmCAIxCWKGrIIQxdbsjnCrjqVyhR4DSWl8lfoUMAVPszqYYEALIGIPUnZ/9KxnKkbuhofVen6aFJhNLEbWPvnD3n4YMyq+W9ejPUx6Ur8g+GwuSNRZozfTaDvN4tbOor1yBRkkK71705Bq5PyrObTyYOF1raIJ70gJ7HxshERxEJCa5vY7pPqllJ+t9bxgjgzSGypiFXHH18QsMCH9Ml566RWpA6epV5OpvkXpEfQvOHcH9CQd44a7lqpkwAHMfGm1JlvxM2JUR4pfjzoeDB7/UOb/mGYqb5Ji9upzkjabft3SeEwXkMwSByAzRLmADMR5N0Vi8kKU2OBdINULOY+eDE3LXcPCFBCKBBR3ZH+YZekWYwOLF2S6bSyG0oJmxiEc8G8lmzbBEutkdNxxfShH+DOmdtkF5wMjVAWi32JWEmIA0SmbSg/QC7JZQwscZduaLl23p3qf+ESPV2kEUwvDk/c7JLtlt0tLepdqgnpHWIi3UDM5iXsnBuQ/sT9ZbYkKLpMSFAw3TCRMKAMQcJTBrUT6nj7jBn3upa1Mm4VxguOiCunrxmXxPiQAkq8BD4UA5tj6k5eB0Vgc6DQzK8PhVnN6qzF5Dw0Fjew9TL2BvuAbIo7xyoOy0Mc8VnIWNJAyujIWPJXOBYWUeZqDCRxg86PlDaIhMQeXA4f/dgJbcohY9LHQqJCSxi8hhJPT/gKrYdWpS9FWHqbSGJaF80p3hgclwGfT/UZCzH+FTSUd3EmE+h/CL/3L3pj4qBxFjuA9m3FyOWOJJwvTStKz8LIaUwanbPpFNLB6tpGsclKqnEUuibzTUPCATXUXHWCmnhalttt49xRvUtnN+adliHGInmTb+luwave8SQKSorCk1cBEXWyKk2fsmY3Mn4fHpALP+/5DjSBGISt7fvxCcSTp35N1a8VyFiQg+tYQTjAE+c6UKAcjyPKvbEn8PQO2ryC+JHXjNbVp7N09zsftvLdps59Mk0yJO7/9S8wUXwVyXpMpyXpUrGqE2iuqQBtdePcS/IBo1gtfwCGpbqrVLb3HDzDerzJdHvh+vHfKnXQSNfpJeX3JeHt1LJix7lHl0NLluOhsiySDWctakR+JEsMHoP/Q8jk6xPZwljMDXhqGm5tiwLXlvgmtHwRTzEDYvyixEHmgZFgQso0o8820kkj3arF5Ts6FjvAop8BBXzvscvoDhElAvarglU7qHfIXByOqNDDhDUV5J4YzSSmAEZx1VZyoMprsLZEBnyUem7Rxx2pkEkHjfIw2/Xp6h0HWA87wcjOuXGPspAjA7VrMjwLKNcdBuZbxHRqbXNBQq/55T9lJbmVjTwQa43vU4PqoyeHxvANpZLNoalNDXo7SbiHWTJp1RbhYM8+ok4uB1mj6NoAn2tVntGiqAdTw/WMQXnVyvUSie05nKF2iIiIYznJ6mi58BbLLbbdLXbBXBYQNQLAg/uELP9+POfrPV0SjPM5ThC3bomRPYjozOG+erwloMYdcC1U0NW7JGsKRC79rFSnYAGjcqWio9jLeYljAba3m4Cq2wfTOyxdGfoJ4mdI96jiPlwb5JBkPqFF6Zf29pNtt5CW1fI9+5lN4dPY2+2w3bplH+ObfdR14rZ8hrMiHddl/c70NrjmbEYRYteUeqeEpYqcRUbpaZiUNHCdwgEF3iXrhYFOfh79yW0PkMML9jIRLioLsRvzjC40efJKLf3Snpj/cSZMlP9dNKWoM6QMrcecPslF8/+ptpNecJkBoasTr7bQyrMZErj/ijorjY7JjlC/H0+jEDy9/G7cheP/+/drkjU06X927HZzUz2MhukQv9Hehr/pXFBHXNIZhPACXOAUp3MjyDQBuZd/pdhOjI6yn18Y1XudUKT2RLZGBArb5hUUSNcK2z37zqZZopF+X8fi0Tr5+Kb1D3FKDbhlVJ10u64iE9kk9ALkpGq5jPojVOCMd6F5BfPsJaAOjejWFyMpbydiXRgNbN1Jg+n4Itm3i7t5fm4exw/nNUwkgPtYkEubgQax6YYzqtg2Fvg3QfT4cb6CQ+nFeqCBxKxvbhLUlWfZEbukhGkXif5ZE8nCnkw+u9MA1vWutxX+cihZ0Rw0wtS+2comuQ6apODKyyBDwq7ZjdxfAhnPAQoTaulJZISUE00hnFC1GKIbELaCJigyePxyqRaJAzY/a42VUg/H9brBCcJnuHSpMsXQXzJKwlK/0eObkL/Ua93jGil7h9nVg9cvW67Sf/8UBhCYpRB+0rDBkqOQ5GiJeiIrXhyBLfRZ9GvSomHIoL4iZo0xFbsddQQIvGBsfbG8kWjZiroomZq6PjGgvJU4kY2PHjNCqlb3pq9IGn2Ec8V27EVQqjRRvH1ypwt9JwJPlOeJuXDgmjkMdS6VMBRIk7rlhmtps/Sha2D89K9fJD4Dxh2VyT9KkpR3/cA4SukiNhGdjhnAaXaRt/PDh/vKQ7wWwnUeLpSh7o2oyi0hrSkZ3FuMNQrLJomxxyWlphCeSMK5P8CItyCR85MjnEUaVoXeCBYOJzeOcDekJ2hr2bf8prUX/eS3LWa+WuNOw75rkuPr/ygzRztEA+cNNzCjsM9lmPGaO3nWDD0FZS0am4tYuvM76Wu1VtUroSLBQ0tg5xNZY3Kq3vEgcS+TTalAUUM4SbuG5j7dbfADvpCENaYcL4KcKFLLchPVoR308TyyEGxrTXe9eOkz+ts5TVezVb7LtidpDIuQgW1AVZkOFiWHWX8F731ZhfPvtmJvHtJ46jIHXmkz+4FdobdWXEc8zszcqSx+1jX0gy4fBywx8kjUQbuc/QBFlxJf/y+1y1qThOU0JEZBJOmqFvARy9dO+84j9EADrdu5OY5v8Scn/ztms0Fj5YZsR3KCrWq0skDURXuXh9qOtWjbdmRTeeQnE2j4uCIWacjsxE5WT1yk9tqVQcZK4Z7QL0UK11hDJ8XKvndL9KUNtobbWANZDM8Q7jTq+RKeZuD2nVO4haw2UT3DbmF7Yx0u/H1kiEPztsi533zuxuGGrvsyrGnTfGiGrutFH0Cy9EGjk4MQrxDQ+hZzlFphJCDEkYrMlA6SABWPm2sZ3GA9Qg3B/cyZM0QDtsfFf+ubpYlP/CJKkt/AzXtsha0pJOLEzJtQCJa5xyQIqwaxDHGWiV+QfI2aUA88nB2w9C8OldRwCkNm9Go7JzM0GHkVyIg40Af9FaPuekYmPn1gVuwcRZzT45VLhaF+vGHtXCLDoBGLnutVUaUlvDPq1uIO55SopxpkE02qurrd30FcJHABa2G6sGacRih95OJnYte+8ZNTCnxoaBuAH8WSWFDG8G7wjZ1c62ZDJCfL8y6qLhCVYmImogXKSSVQhY1TDkdmHXGaxbtL4qBKK3bKct8mehBQMhgBPDtje2DlfyiWFNlJZ8fZ1AhtjoigwIYiRAIETX4UyK45ntB1c1JmOhnkAhgTIUa1s6YII4618pR9v6+ubIMdIP3VrzUP2pJZQwKpqDwuJMP177Ax+GfuJnLhWnLXo2f8dRTKc1+98tL70Dqm7uuiItzGWAFzFa+dicqQIFWBL3WsfG9DWvt1l82WpSxemzbZm4XeE25p9Ip82sF6E1f+/o42Sut4PLcPX+y1F+ERH3S1/ZoKOgMRzgf9HlIQ/CUSPReTJoflidAqS9SYuvw7YFAVyPjBNqx7tfwpEhXEAo9SQVWCKGzbVcxJ8kzPk5sP3Cum5GQKhzfmwBn5vd4Gp+ofqe2l9lAS5JFkseUCs0PgLQZkBzehUQtlZY63IZOWUG95l713nauXHMcEcoMBtSBeKUrjuLjp33uhNiUtCxILt+3bwgHBBBeFVPBg3iZpWtCubEUhjZt+66UqYwWX4Fhkpb714rAcjL5R5OKIIAq6G3pkY8lXdV9ZUc162VOSOV/EOkPZTnUWA0suzkts8fMak+BYki7vGIAN4EB/NgTzvwsQv9HbrwdE77kjaqXAdyoBl9KG8PSu8VLrFj9b7LnYDK5yummWJqmQeE79yfuJXOgU70alaiQH+Ab+dmSTDVtP6X7f6Y81d63nzeVaxKhWk2yQabQZamx+ZbDm58XOW9fHq0YOBL7wHzKiwOjiIQupNKzvZrXC5FPoqSGZzeK/N4VDEOFcd/UzEAsmUTg2TYLHMBQbJSOpt+VNS/b4Xvg47do4KSX24fFhUgJzSB2puz0tl5BQNoMqNiTV4teLnXojiAfkbh+g5+rFeIt7fKWE825bz87WrwBURPdodMR/rXwyf3Z3A7yHxRXUPzc0NkwvDtXn+KgB97Gj0IbXSAte+8eM/cGLrwTPSHMnmTn7K3ESTKPlrYsq0mK2l2VQa5xa+O9208liRcm6PYZkIkwy7Al9l6Th2cT7Z8wfMXYbpP7QL0LahNgwlXEnbH8c3kWaLoi5O31N5L9BXlm0V780QmRBnpUoKywW1aGtZx7GTDT6ItIfYB2+ulZIa0K/WSbu3vjgXtGhZ5PzcORzxezzT+jdvAexId1F0BOoBEIn+2cONcDtFnotztZ/2VW11sxDHh88dCDOr+j8s0c2PMNFmbJbKoacW7Kab7WcUYFqvrLgAIY4852D4xBMcsMvMJLlFG8nEjHNeKx8e+Ag0yABTZBmvTT8wxFeK/VJHOtPiJKARb73itO44DibW4D3oxj1A6aPBJF+GP4Ch8h3Xhsg6Mj3y8i6BuiPP6mBKmjFgYaRHtzXbi3I1GDHFo8d+NGj7+u0LV1x97jqWwKXNm2Sq6mv1gEA/lqjbExkhQr+zjeygbHH7U36qfb0Crv0GbvBbts/Oe2pOMuUFh6DJOwGBrNqpFbaNLCws9s1bnoqEJrRROyQN/Vo5cwx+S9GvHUEF0dECu6jKVUEaJXze6h/5AFxQMIEAhb3sTMHofe7N9X/sR6PRfjBc5+378i1jQ/Le/KD70fYDtUq214hX51s6aeyPfZMZcT6Nl8ATxb9TaPG2whqg0KtVC1gbx4MFgCrMB4kUHd6ZRSE1dbk4lngvdSshpktc5FpyW+ym5XqEitM3iM9bQPxu7WY6I/EpLr9uo509NihvMymYcvTfdkfs+pC1FiGBL6CZhqf3OWlBsmrB2aeJ3+ZzpoVFvm2/bDjY96/J+342fWi+CCehpHiZx1yZhD5GS/GN3OXkGVfKhVpWGL2GZCJ7Y79GKi+r7EpVeM5MQR03bqhr0fmxqdAgjWzr7CTTKz1qkadGHCOzb2fUMDzrmqXSZbh+yQrQxgorXxC2sARNmK5awSrE05f3IOwOcyTbZzGofLY/bH4tASykfenWzWRQNqCfRCqMDT0N3HyifoVxNDbz4UCcIr/qGflMBWkS7d2fIIxhcncZ1kJWg7/DnXk0c+7QsW1m72iBMOOGB9IC57g3zTOEy5RfZv6fJy0hBIBYxmh4w50sjevgWkqQrLyN7nYwyXKIcCFLbTGBihtFB3vqtJBm0dIuTQvsc0lbgedjT1e+uEDOhMox4vPSqq4ewoPY3Ce+16E2whglEtcoCR+yBsVNiGiFNnMlg7nsOSF4unSnMon78U0AJww6XNIIepkexEH6ok3CrSjg/A/2VkVG1Y/ohYJTuuvlDWibjAwS1hk7dM6o0hxNQrLOkD1z4wQepDwWnJxNcEg6/mEHOsBnZnFqTGOZmZHAOe2HrJU2QIwprxM4PmuVEcT0Eu3ax8ojb2YcCYNWia4byQqai5jJYMHWj4t6Q6J9BzEKALWpjAXH2zvRY76CAFl4FxkUHxcsv3XhMr9bBzW4PkZOjvOXKoQ0xXPsZ5hY8kRNxXs7HF3x/A5p1erHgOtwNasg8TA70MSiXGrXg/8+CorZxwDb6c5CtkGSRiudGRUiGCWVoKuZ3X+o0zZOGSoxmrk7kvpMKhbHHP8OUv/jPnV1eNVrt6UCy5+v3bx8AW7OQohJMdaRW25N94VeR4hRvOiEgoI/aDJTcue3qeRX75qqZ+S4humpFVU2nzNCIfgzIU90oT5LzC8gPP+M4ag6rHBBr8N0QZHvnx00uubFhBXoRnharH6g/uQnQ+RdZsGQPrO9lovZL/+ZUyrOBr6jD8W/jbmXqA/wSc0/MmPLMPU+c+17udPPufu0gHeM6VV9d9xbtvLpdOI5Gv4PbvWAoGeqzgh0XenrZ9+Boyexc99I65/EKDw/duZowsVJeEbHfo/yuzWAGUrVmC9oq7+SPC8hmVVaQrddkpzcAyCeg7fHIOocDm/+zStGowzESqAp7zvNMhLaM4vME+4LVMB9DkbbZXvwtds1wFxx+suLv307kHb8waVjGkm0PD8Dhgs7/28VlCUnN9OW6ZOw1EtufXUBncWa5iTn3KYbhqHvRj8D1/WbFtFVgDLqZUmiZaddi5VjbFdevF3CabT92x/F4kBMxpGSOHkBjzpvXBdV85CxnuuSJRZAwnfU1hrGfRgF3EY7Jqm3HyNJ+CTIQ41cxLSJIHhGksgjubiEe3+oFd0Lm1Vp4aww+TATse+IQHi3cYSC58BqpHqZd3WNoGrBivzYcsNqf6Qg50NzCLd6cATzhDR26Vvjg4spuJHcK+m0h/IXEl3XfjfGXZZ2ZLLvIySNLjfo8clvsFkeXtttHmiN4hXZLh8fviIrOwVHdLCF6J0slXwJkAnboQYMEjCNm5aM7p8Da1IEMvkRPTAL84MZHVkRy/s8dDzOUsbcF3WJi0hFhvzZ7kc9cHLsPheFfpR6o9Yg0w1tZGcoIWm+CInTdKiwWmEo9cASSIDkmTKLXKKuzcOZSYjkfdiffkaAsGEJ2G0xkXy0D+pVSCdUMtegD76REm6dE7SuDtK3Zi8KcBGdG3QhwkH/XgzAh6VL9sBEMXFqHwdVErCv5Nr5hzhtgEAtsMCCu9X/q/2EpAVyXhtOfP5ehRyDxcp5hlgEtOTk9IWf7zVBIkUxBuZEDfLMFPtCrP4ux1JMivyfj2MDjg+wTly10awvjoJnMlNgggOdGirEavxxNSnNrUJ2O90Cky3tsjj/KZIHNry4F0iS7MIbF+G3sGL+qNk5tv8VEbQofaMVfBKmiLo+Ddhbu1NDV5/aE9JpiGVkuqFLs4rvGlieszAZ0LsiqyCfSZ8p5KjaIjijd8Ihna97K+oYbHWVpqViRqx2AWAcQZ+9fTa1OSYVDCfsZo3EJMwMwJzKVrIDKFdQT2ZIFNfADguB6MvBu7nTnd3by0iHddxMMoEZ4cLp9evnJ7yT0OfUJC5E+klZt1rgyMPTAm+DEuVnPmfilGXHO445iPLS44wl0wwr8XsTmjXHcj51mOvh6dFJzxc/ewJQPudY7rJat62KWpebPQZqt6bAeyOBltM0pDA/ekG/N5dtbLFPnyQ93JlQLZS0GpUi9hP69/ck1FPIkMIjSW6m1xLl+cF+pcz3BGIN+j+47CVNGvFdCSODDVKsrm6hlXZ6CERUmDvHGXv2eEGBo7gY1AV3HYJt/js+bNuQb4LNC1NEgd/YGwR+bFsUWDTYrL3x6fr8rxyB1c1AmHPdpFbNwszTIiYDmcutIuYvIxWDWTLmuYqMNJ6RbJwCb5Ls43TnSB35qAImZU439ecHjznFk4oS8wugpTJ80ipBCS+RaxaOSEHci9jheONmhcfoHmQLSu2zs5TdYvRbEli/HJHSP9KrczMAXRYv5i9V0sgXWh08t/AvUWtYd6OoaWcZYHpN4vtMtItut4KWZ1LIyXz+UL2Cv/Zzjnr1VetBQC6qV+O1NNI51xYNAjrmRRvFIMBXR0xadKCu7HuRARRyCBBPBQ8vWhn36/BkmnSimx57CYFmxwb5mBdi0hwfBUMlniSCqMDO94IegdDqEIpUJ1uP+vXlESJ2AW5ibWL2RocLKqYrDpkUtyd3fam5P+UFAchpPYSR6/JnXfpxqDFqZBw7dJmQVZKrM80geprfG4Pu68EUrj0rz7VWvAdwtMUo80j47U0FAiG6x9nEz1GU+NRZFQSF6uf1CM613/HlXKYnDhMfW11jDejbS++G51RDZXK4aqQAIR+cTttyrlKXeoMoL32MvuYrrrCIIFQSbYsWZBlfqEML6y2dLVRScfKY/ldwQv5IkZ6FHP4KGOOwDWHVkkLSgm76Itc9taeClfaizeZDxfc1RoM6xbB4yxieFSyy7tNUwv8skEbLHrdhZXhG4aOaAnqc424HiZGLqmkuQM2uWLLWzODMUHdfAKYsjFapgyORXfk7U1+zYAr2fmw0NLbA/YuZpA3TaoCcfADDSGY0XImh1DSLB0okFxSxZCXs8D6bX/2wJbCxqmQYWkQIitpLFQrHbqaACX45YGiKzpZKoOF2KXh9tKuM3d4Bf5ST9aU/PNr+co7vaXjZkI/5RfOJFbqrI3ouBpMXyxG5EU+9V5FLFAZNSy4vr3EMp2OfrasMn7Rl1W+IbV9h7y3CaVHIj64VkabNrh/yJ4FFJCe924Fst4RjUqVmMpEmFtusZLc+0q9nDJ33h+mqIIUHZFIjNrMiUxMFHeEtsTI1f8FESs70NufRPwJExsIEwETNpbrzt7xjO/DejoI1agfb1ApnWdad840HbIhHkmhQfR2qCDjA1iUeeefbPOjn3w3OumXl9KXDY4C3nP5msN9sULUd7BLZJJ/kZANcnOBdJ/1Ho+LLtgejqE+sVACXrkAgRzVeenGuPyxSVlgtG4VvAFoGKt9+1Dr3+Hib9JecJsSRQrRQxoj0e8INMcDRdnJ9hQ92ByujEaHCr3kc9DSp3WpDxjKTwoNe51g5eFPI7I7HnwE7BrvgKt1kWc1rpGJCCUk6TmFTHHnorPsdiaqqnDh4D3CN1mXWcDFJuWnvNX05Mpqmo1tiQuaKaECh7HwgfS/oUbE99br6yJximjk5E8ePPJF4yhh580QAHE3PHhCQV2psgOrvw5bKoSwSrFMJQ8SuvEhXsiRrJh1Y6jarKVMdp49cyZYPTPkHvZEkvMpHZZK5gZmQ3i9QfMOe1LM7BK236CZxlb47CqZz5dISkyMduT/tARW7P2074/FsTO8DUsDJghKUnrcyw5wjioSdIZNuLVxFQho6cRNqKfFTjk4dPMydV+9laPePklXKzBd1OdwCX/FtmZxzDL3bglyWp7x5lAgp0rK8rKYkzOY7k0JIZMnk9SY0Sngs8d4wSlOv3NWRsg/gi6cU8Uzq71PxnKaK2gkHKIdQEt5EnqTt/SG/HEyfkLMW1o0Vo5UfIi0AvQseU8J8jVv0WpakZtoCv5Ws6OG9YlL9J3DZ77lED/6bRPNClVi/wawM/muCzMuIW1YEWiodyMxrMfsXm7rAY4d5P2DX+9JBmHhWZud4l0brduim1RbFFDLNXtetuB6nUJliPE5InkW7y+m8vaoummcuWdy9fgMwuRxihLvKGHGMA9uSEZU/5yVcyT31chaWpfje+7DP+gu0I3y8UA942BeD5XjCwcLyzMu+3FzH0opTsHL3PNtK9SbXaCcuUVJjXBNoNq4l5d3Eube175PUf0YaRZTBNs5Rvu1ESNwGZ+cp2lhazQdjAJGeVxMP5AUKKzFKMqbo4pWsDUOKELDuYhjKsilEThZ0ADaMdjT/dyMeOmU2DciR0WEszV6HPfTYHdHNtMx+cItMyA3gTg2fEd/A6lY9HMe6EJNrFShFrAT8bnM1Y+VffeF1eS4O9mYnxsFhFWDEZF8X1eFmmDJUOhAERZBEdpE0BKkcToLiXuFEMAt8xNoRN1zkJl4RbUkbYVYmjp+0iFErXCzH89zwFRuzVPSu36wSfUbT5xXLNjDK2yQxgDmrBqSGm8U1Q8Y1h9XFC1xTUyqfTaVFKaQUJW17q8RUZrPm8aLn/fM3UzscFHblkLrLziOn0Q4rx65zmC91FnMCeA6TwESqYKBGgKoXDXME3xAAoDERf66u06h7wU8i5+PnQEWP2GCqUbQ6hO2UXCeEsfF2x5ppd0h3yke7SQgYg42SH/Aq1fvuD8prq1MHpfgCx053AWl/Y++ZNMyWf9bbqQdxGtAC2wUl25R6oUd+xYjjr7QcLnHVoy1pmm8gPPuMVVGi/w9txWFXrpP0QXx/Pwz0O+kaJu3vO6HnaRZYn0JnX028GrTymhBIe+Mq/0JJrJ1xWIVxtKJT0dRCSoXZ5f4uVt/+jJvIuvuwh65K6K2RF0B2nZJ1Zd5QfnzPiTXIQXHDvwhKrcQ2aLpQ/TxP8AFJx/yknJ2mdnks8dgCPHhx1ieCBuR4hf34wFziObYQs5En+lSTyiVb5b+wSZZw+ZO1mBTjmysSdyOzoth/QeqLFOxUBKD22rXV/fVwMpNn6KcEbBG7XpypwZkGQcfYGSsCl/TIhsw/iwgLD+ym2DKxAatfS3EJDdgwiz67UFYvSz/jEEN0MiDJOW7PoL6QZ4rpkx7zsd9gRlaD2uSiSDmPuLJfRQUWY9NCH4hydcs6WwB2a5smVq5zieI42+Tggkg0vbQtqtO9CY2a+8xCq+pF678Isbj2ox0buRna0ba46vO4b+nJds7KyPU0hmQyOYQNwuxASSBtP1DmXxscRFgwop3U0iN9kWDafGmo9K2Wky82bCeDNLUI4+7DIPuK5Et9Ka+diO++yPqIFhB3XQhiECMNyRD5XXjSTYwXmwNy5z48O0+L1/8T/bEWuIRQxLlSyg8820F9DMzUmCvFVDFVSL4nVh611dZ46X8DTt2qQnPU8GLRlo+eJ2kfb/VJ250XhqtlmlGLJIUGI+FxFOMa8fP9pvqKpw4P8tyqPcNf3bO2o6sxLCDKC08xb9wWX77Hz6bDo1zIX5hP9yRZo3jTDyVWT3DdmCTDLexIctlx/B4L0dvShZG9fwzXnfxcmLZ76rXvDjkdWOxcvB4qmbowihNBJyyUlNn/GY2GMCBUC38+wkOIDFtdB/ocCu8iPrQ1pBzfpMASRKXqH6pWL1qYoKEaR6Q9n8MUvqDn7k6gSHVxTJhzfE4Blwiu3jDH2LQ3I6LKzBPA+PP0rcZgusXDtH3sL0ay/cc6aqm10gNz17BsI3fb88SzbWfMwWY9jrXH8aySK7ndzJ+5vANJ6tNptlpicikG0umZgWl5kZZ+z55lEnHZwyO6x+h/IJQOok3Fok510gWqeqmJP7mO3gtDmbFLqqS9dVaWP+N5ts0vaAStkXUJB9RSrHz139/dNjXuFapOeUBfLOzhSNuYvUnP8nyPBIeSAWi7aTnkrqtlY42oi78gmI4RxqF6vHg+sfhGn7IoXKHe2jfEpsX/WDoIyvT4pwoCkp2bLtBE+cactTSibo1ZGrcHIBZZlxLPJO0n2IopJrXv5ZqAAgNxe1LdtvH0OoeAuY15BtWSwJTo9kFFCNL1EUZ2UHNMYzsQfByCNP3gG++S0niRw9PJaZBE6SVDyvVP/ddKVnWwjmv6Kzbz0m+NSY0h0C67n/obriz6NRtYpgqoo0y1hiT7NIsLpvbR770Ruwmeu+RBs2DjQx0wZkxfICS0PseCc6RDRl3l/gcbUeaexARCaWfJYeDwFVateVK53CJiu3qa4LvqIqOkniOnjdkhEbfIuiXbOLOoPJjbNyAIeLcij3kt4yDN7KM0UPhk+mGI8RdSRCOgo3JxJB8rQyuWt08vDpwDItJU5oB9u6Xbcr/q+82Z3JF13bcMb88d5+RcLI0qJJrifKGd0aBxpRHX0CH2qfG06UPylK65gNM6SOrfKVKLhZgwy4CO4n7JLs2ebFDoYFeU5fRI030kx/EaDyDGRP1Qf6XTIQb5BgciF7BUVOxfG6t7uh2rbqkdn9b9k4W8fDE644lL4c8mmOYH3oyFd5ZVevaoScVxsRcC1OghyiNin3yPu7v05diuVzjto/T5icxM51gTA93no2bc0KyPaQh5vt2Me/39KW/pkDyZwaw5wclqyWI6BLqW4wSyY6/6DabjEMoOwDvHkICJzSCndt+2+/nUOqDEsntPtJxkChJSlwgkvvjo64Iw5lZWWHxVD0ExDyOdBKjHVp6vheWpQTOgKl9ads7XN223tYuTu4DbDmSllFgs5gaN96qPcpNY5lA6C16dTxI2v+gOh4rSHRJgcuoK4B7CHdHkviq7maN93z55dE05j2cFCHsbWnKOB8NZfS1onhhpGzUNx/m4RX1cFwsI63Ogi0gWJw8YZWmMQ/21ZtpVONbjyhagUjuKHBUQgequZ/sGaW9Z/SdU1lb4ek1pTNQGedlr0Yyp51+PSW7dJFAjG5rZtiSmUzWvySk/P/gchc8q5zEauwRL2GoX14uolvRyPSSypSmdBABCA9T57ZozZAP4z5xSxLIQnM0X00bhd9eth9KZZ5kGhRjFe7JlZNuE5YOFi7nEFu0Ty6kbmNJKemGzZINowYm93+pDRvYjE0O8uMF1WTvJrWasmvx/YIlt9eouZlDPaYgXCgsEnHsUrvv+AlYxNutBgWRRUBkQUNT/x029qGdK56m0jVl1G0Hy7UoR2KiWYt7kXiRJZOnf7HoRYqd1/rgbD3gaY2hbWZRsOyuXtkVhNwRoUfX1/vXcBELh1nqMq2k+d0EW5uQ5SLJ6EU5pLXYmhXjaulQZCxIiJvpVFEvtImdRSoZB4QahuZyaZVyXbgjvPyMi4zH/lzHAw3wi1oxqnwkSbfTO3c9IxFRic717+SUqRFVVJ7eXvsBEjEDW7Q98Ebn6cfwavcq7OXMJHPi7DuDNuJs5H33ZaVY3OrOVkdEPG+nkRad7JV+QEuycZsl0iNoTR8pSAe82tx0GGWZAmdMBCqiQjsHsJa0vEeSSrKuiF6PobHf/QbJ6KkFdtNCbUsVR+bYHdh4AlE0ySZFrf7WReIVJxWtZRLafC3iAtuzUAP6Vi2T7FuYEEoa6cKGLkusoeeBb6ih4Ho81b+uRfB2WmrMzYnatooK44Ab4LV7yYYmETakoZoOy06NrOt/JLv/A6JtCwWsVLmBcYChAGYlDaXV930ws8umT+23DT3j6meTjfEcltKk+LEGBH9ZhZMfDI+m7c9A6FHmvYXBa2RZBk59JbnEFVkR9yx4jd55W+neSr9hV0YypepTFuITeMebuCOzMYmHlZE64At1dU1uy/YN+yKjMOvw98KVMIvzFe0q6RupFENWuySpr6vyZLk/6/ktGrJLhofCDe5isz3u2pOhvHdjVrGzfld1SvkK/66xoDKDMaHgDZHJZtuARKU5a3eRzuWhN6GINMiDPSR1zxd/aofZtsC2e9K4T/JRcDwYGx3f9l0Ai7Kia98Juq4jlV2ifxYWUxtr8ALiaqtNBEWmlgzpU5vdGHIVXVULPR6BNQUHCrCV2fxdd7uiupb8Rupapcaf9IxKWE0NSBKDFhs2aTgqrvIYJQFBbsW4/3ua34hUxlvPP8RmzHNIF9TBz5I9Q0qyDmB/m9lW0QtuajObSDMXUWI22j5vbLra3RJsgY5x0OjvTA1a3lZHOAwULbxnKw2e5/k+8rwQaVdnkUc7FzI81c1w3kNb/cuqtgl5tIX98HrFuoGcAIBttHzUaG7YLg5CjQHVxQsz+OhQa9xQbTjd9N4+xr4N2TKas98zMqjaCL6FFDADVgQtkI5NY86Io6BVqiwDDLi0PyNWMY8UsFFcp0lRL3XZc3bg6To7xew4MtHsHqsmQ/g4a0lNafdZ0qqucUdpyQuZdF+chdo8R4neCyiB/gnuppUOD/zitF7mJ1R8IZRoqo1fT1S50GGJXgIge0JuWq/ljDO3FFb/xkXmiV4HSv0gZHZThJMtspXhX+Wr6Eg8Gao270y/hwC5+dhxZ4HPKN5hWIZkoQAF0MsDcWRn65boxQkb5B7/lmwOODkcz4UB6EdVdFES2mEsgEvDi/8wGR059IzKSQHjqqY8bWAYaEx1emb57BO0Gjos2EA8330jK65UMEGtNfQK9GLeFDZ1p1RUFAaYUJfNh4bInaPIvx4ORRWq218PtcrXBRdoylevskZZ5Qss7aqg8pSHiXq8NCZWTW3GGpej0wy0k4Bl34leqtlYcSAaT8yCfMjO6Q4OPQd5qZXkfbfDfyqQPv0iTF956qiNKpoYSXfqfq1z5+wJ2chN9egGMxFEp9iY2Ama8FNb3rRTwIHbCsEo+nh7IdMS1cMVH5EF2odgVG9sU0BQlki00UIf0LQj/he7LMYLKApJLUYHheCcVZb2emE6m1hAP9RTWAXoUYsr9XmkZ5/G+IWErUSe4ePwNAuv+KHgZv6lfOJ2e72Iyoxvl0B/A6KZKCIZOAJO6ttmQSNZi/K2ZeehHGSL8F/pNHEds2xC5J0QktwSYRhu/kOVkJVmxp1Y8eF3HBWnTP5PCaMrRLRjdx+fIYL6h1c57pdYzT2DOdlC4yqJeCeV/qz+g46/VVN26MVFaTvltHR5I3+ccMnHZqKNcrHan00/MPNNtBkkoVuvBHr8bZaW/BzYqVsT5eN4yDVTjWZWRMYkL6ypInsEfH7UpMwvgQjO82M1tTQZuR0jEYnscbkV0F3OoiS3I26kid2kfwhZ8TxDBANnUHteXlGmqCDYRmGALmE5O5Qfokh7v1QJA7jf+qynwfyuNEgVuYQnMxAux9iI+p6afFHoku/ltDhaTjTQzWPA+g/4217/SPyxrSe6bNQEn/M1pkpfidqJy0uytbTXjXHjkqVvXOj638XN7fzJehM4LByB2/26TDWY4zjCOpuZqQrNNQZ1IxNJNwp87QeEWGRhJKh9SPf3M67TITDKRHzivZnpDD77UtzbX9ilHr+Q6ynjY96Vk/LmbYLd2fmdiztz14lXQyMmtUHp5lJTua8KKplE+L+eXoagxYsyc8yIpwKL/DZXXNMY1h5DDmFqdo94hzTUbKpjkxEis4CdNKsfwXuWehftyl2MIywO1w47pFYuBKfyoRPVN2qtkVY/ZHPgM5WdANa04CnU5Mf+yDQUPy6rZ4XeafzZrcA0kjcalxoK7IDA2xPFM3eOa7QXk8qG3kA70ftxBwMv5x7thTOzF2BSguDrKPqffE31xDb8B6T7Z7IprrsWJR702sg7eueNvipohfRz+lgrGpLgGJSmZO2FFX4EqubAjSRBgr9WoffiNK6b5rRYgo3ya0z6JC0PsPGNIkkt8HRn9bLfuoNNbq0o4SBIioX4Ik2Ayu+FEvp21hcPipmiqFt0xVnc2+sufn6i5qiMgyINH4f0S9Gw+XVSSawpJivjzT11cKF6NTZcFN4P0Km37rvF1QM5OA8PehA+ad+gELTjwIJ4XlYDDge+TvgeLAqwQgD17rdKVQ3lQK/zTyFDR8Ntst8qz8ZtSm/9rZ0IS/C2J2zcdarZarcRxtK6vKLvAw3SbyVjDFRRizFO7uky/KvSBt+iK84tX/jItt20hYPdaNqaIqddYYQqa5JBBdFJpEGC8UB7Lf9r6aNdotaESeNWEO3vr92j4ZiCnbOl62V280BgtL6hwbwBWWsz91uD+VaNoiC2R2uqy+YNU1ArtmC7gUxAhvDYzgt5zLlO8Rocjwp7gfAwdFjopWc+coj1G+e6wsjHwgWq8i+c5K134wed5vmFtRUTEEJpDm41dD9Jh+ZMHlK0dwhk42YH2snm7MaNRZJQXGL94Rj6Q9wDQ8mrfazNnYDG3d7vm69b+U5jFzhqlZrGrTTr2Epwy5FkjK1c+z46MbQN3DZvQ1lJZG6bqko/59JeGtindJEhknYHCqMUGooVmBEujnl0Y9AuK0n3ozydSoVQmpxdddGI9CPL7LfGQcn/WCZ6modq10uLN9pnAD7EUIQZWjfGl3ywEF6NiOwEu3LKGtNFd/NuEtpG2GVIjNj/ziLpD27BTGlg+cvPle/5Sczr/TtK73auRH4V0EgVfH2p7CUC+28T3hYYjUOvdEtmrHTs0oTi9g7uThQZiCl9LGvEu73uREYO/x6DR734K2ZIKop3JK/YhUg2sCHvC0s/4F8GDxO+SNKiO9l+mwcbj9uS0luuuf1UidcTZC/o2XvmEwDhm+rHTSqpyflq/6VSzaOrdr+xvUL9B5uSHxH1+ub2urWxTtnA4d2qjfZkNcZGTb5ImlWkLS37xl2G06jVL5YX3UT0kBfH8Zm97MCJS4vdw1+jWy0u9MuQew9kbzLSbsJ3EjIbl1ZPB+McLTZegMcgk3f7csP4mnKWpaiF1ptaMKhmHo/yEnn8vWrU5ooh8qKy2P/2vO5V+xFa9JBbYtrTYttjRN+1ddSlikR7Xo0sHf8ydHu89OnWZKkOGtawirVNGpCgeUCFwp1qOOXRkl1QFTbQQ+4SdCXFUFMUK+XVAla+ojoNQ4TDDx1artlTAWwG+l79laacKAa5LTMKbwBVSswhbBwtGV1HJe7HPlkBCgTBTBjBMh5d16QG5at4vAVREoTAGaSfFGznKZvd+1wLZc6GT659o0VMTrnic/nrTqbW+zFx9n9np8BNMorSIdEl5A7lMqZq+xEJtcllLOmSvrGqGUPk04cwcQN6tpJza8LMbC0PkqAyi62TyH2+Q4NC2DQcdo+3Cl8XPXPVy+B7QOc1l5E7YCCX6gJgYADcQMG1x/22O65yMzrz4yT6VS/tV49jk9wTkK2fo8B/pi9n4UMF2cSL5ssvDcw3nsGiFfW770vYYnfSgUx0OcZ42rZJzf5pdsUHI5Q2WcslcBuLWL2NYWlgavaapDIxRBRjlWctcMDRLWeavCLMkgZDJo3RJ700V7VWdIKmqOsGkX8fX4ul7NQsFLbdO+ka1l4ok3s23ja3Bd+JtSYXnnSV/SXt2tRioO5WJAzkdMHpCQTkg88heoJaxEr1BzIMKasQtaVLh5XhXwCykP/2vEpD3ZAjma3KpZOl7YDLVaAoGCKDXxOAMYLUlE2I1P87lBp3cFwNxYGVh0osTHfj29t3s6MJDmLH/Bu45K2eemn7e0/YPYjZkikn6IN/FpnUWDDGKjO6ao/nzGmVXY6vmiZUNoYzym8nEU47ZZppkx0byfOK3MDIc+fbB+U9o8gO5MITGOHyXD6fpS+DOeYx80gzfd2ZowKsMo2TqJpbPQ5kYRRGCWaWMfMZhszT7DX7uYAffMXYnakwiks0TzSVljOkeHOEMgMclfwPOXfeHHeqTGieG49iQ2a2sEDw3DvbvB1stUYvZn7CuAeUWgJmgt4F7OKgUfkK9ycqP07M8xpjSE/MW3NYKntOrWp/Ajyplgvw6yvM98ZAETE6I4xPuIV271LhVrXIE2bb1RERmD7HgZ6+Z951kRFUyaAlfqHKfd0Y4Ersag7MhXfjgEloAn8DxoPoEhJC0anPGZl7/rdRylc1XUSp2ROrKw2Jyj4eVAjZ9JLnH++10nVLWWNCIIM6fxGjr6lXhl3H781cniBeSIQCqSKTTVre303OdthU19dFlMiUY0L0Gif2w1aQ0pLCfD72q36hu8SvtQEryMR9cU+BjoWYwxuHnW27QZX2KkrctThZO/O4+fTComnpwPuDkYvO567JAV+mP9rNM7Tx7qTJEyQsrHDoX3YTfFOCWq4lPG0VJoi19MXSAQ4yw3NdScIef08QUiQfKZ3dDrBzSLMjyxbxLsevOx6f5nbJOdXW2tAwqPVa9P5Y8Iev3chZAM+ud0PZVBrGeW6VNScdZwhqkdNMsYIK5impnb/mdFlJyC2H1v/uS4iscCx3aayzbIIUxc2AJPt88eQonmALzjOoFXyB087UCU/9DOnldupDmXCtZ1NG/IlDKjUGOnbDolSXaOeRIE5qjUKZet6hhrV6XTGHMKQ5BmWqJ2gZ9cg7v1nVsHrbXYYP8SFZaOTljag/ihEHZ/kebQmxByrYNcErXGnFxKVhaZChkiocBzL/6qiYsGCnWR7tBuBEuMY6sqXqR8RfurTEJ8eSM1AsSutzwZwn/8CXqyA7sb+Td0D/9LUoXXzfDYeLN0KpleC4f12gauuwmuM2AtHQ5oVXhvuLcqHBv4r/ahAFjfXWL8U10nxK+3XAf3WFvyzamPj2jxlBJ5QVmL+ir0Xfdiod9cnui/y8rjOJAvU/pgQKdtBRXOjVlN8dc2xh0jLG+gIz08VlCjiuNg8FXJdQ5fgdbhYDR8cdvWVDJfiIX1cwvD95obKaoFo7q2sQL4dT7nyhOCdeNnJ3PWIhmABOH84EvBQTpLQHexMyEerGDxkExJwWw88ORHGvvWECGl8SSNIXhDA+nutgPCHXr/ysq6Lu/9/DAKp5AKMz72qw/ZV021mLlgXiF7hxulh5xqU2NSHEK/P+EoH5PhvvbTDiybxJiHiw00RLr+vcKW8M4Wct2P6xhAS4f8dgRDt0pj0m9MUBE5hOOrayUoW7ItZR195czveqbsB52sfoEad8+q1/XIEeiB7kg2Efc+OyRoUlk6uHnPzi2WCYgIv4f8TPrG26mWBJr0fsQdy1uzKj8zK8rxvW3hFWcXtJDuvMdJWTqlBE3sce38UDde7EKxI2SacKabdZoMEjOaK90CA6ARFov/O6FeO8o82O+/1KN+rH692ddZYFB5ArU8OrviDMWilb344tjNtCPECxKhANDk1Q3+9jvPDF1y+OYLa2ASoxTYmm0ekj5tK3NVxt43LzKWj+esQU/jJGqGFGQSwdDKVp3B1IwNgcRvJ7Gg488NOqPJH3Vbni+K+FSkjMkzR0AfEK6ioAwWpLP2icpCJA8zpaevqptNfX4uGfxpMKx4Oln5V8dI4mmnLJRMwyEW0j0E9orVk94mO11QyDsNpP9xgaHZiUOTyzNYPnV1e3JWN7aNl5m0ai7fR5zyenJiNTjt0L+hqdXiEdsGsb0xmsGMWyOvzA0J41c226dr8UJN2rT8fM/U9QBUg9/wD4vyTQOpcMzVgb2LBr50O05WoznPG6NHezK1SvHyvvyHNRsVBjy7KlOMpV/Ojsi3AMMz2ycZd/xrIRPPdyWAvBFPKpVRwmRJ2UQ0Ih7EIihm3dpHQyGG1l8nCvlVocVqT/MWfpWraKXC/41xWs240Lyn8SZIhRgkH7JpQzdvLxNwFDhXDGP0xDIP1G1z8Bsm3bYdG/AqCrGCwKAZhDvyqAG8Flfir09AsobkjKKSWVYWvInUU7vWFRuUO75tRxm7t5mm/Ecu5BC3iQZsYgJL2fvYRR3Q00WUrteTDS0KR9IKIc4fluItksUF/t/W0ATkZp9tb1uLmnKeX94x3jwnBMC5cu101rYM4cieIJCoseJDfPR1QU0bqej17b2D+OZzb8bXNOc0oxuXNIAH8mUeuiBTOKEF5D+9MwL4RD58VGGLar0kbVfR4W0VK+XvOuLmnMwqaxgoyzlNYwvgdSlDoGwnuX26Unh7J4dcwvEDwsDZfk1lv1ikhfCioeDu2WgBElkccTpO/Ckr8Y/4sVAzj4iWk2d5RiOVitKpNGXIjXm5tb2VqW82m9CYJRBSY4AnV7PmHYRp144lasglozaVCavKOma5xLZUJ6EyLT5ZXRJPsTg2QUGidB19DgxeHGEVoxUIrzOmdNxHJt5ZiUd9ygWsrJyjGGv9BF0VJiAyo6/hFvPWHR7cx8SNL0SxaGuePmoLpXvmsNzqdJjUsUKjmw9lQG4o1QCnZ+yS3UrEagQLMPI3GVDgGiYfTey9OvBJQbteG8zrIEfHmnT/xkGbbS1ZAxv7eFjclRri/8ctIO9IGN9WF+wWWGLHnxeDbzZD8eIcPY1rE6noy7oDCrgc1d2jPUWk+ZZ1Pjrpn4a36qRexcV8sbnR936UDhkOKnCTFZVJ7dOnWyPTXDhYvUpmRHOJ8Fjp3agF7nn0LqBMnWbX/7MkQIE9iY/WDh8Y5ML4c7dfoFPljdPltH/drCSV18Rjr/H1fmekaAiyhho7kaRRWoJCb3OP1ti5aJWGblVLKwSPvMIGAjB10pTccQF9URAm4bTb6SzO9t6Mph4jFKNj4fbLDfo49cnp9J0wbMUO5swFuUp5DBejiTuisvBkUKTsS4HH3XP1Cbd9FQzF5f166DAE+HfSxr+EL9F4PcBMC+/ge1XDPE1X5GSDw6F9GIsTfnOJX4tyVLHhhLCP/JeqkL0jLaBD4q7FLc6fdEfzkRjXhLKeAMW9s+ivGkw8uTkVZMVOeMZFamLT1uZc8bM8yZb6ZCK0G/xcSkNU4QhTjnY/YzrtU7Vo8XW6TxfTNcYvZlkVZBV5CtE0oFB2ZEosDoVA9CZcqFKcM0+Du33FyyGOgLmDFBUY3cL6yMci93COVRenfyTR0WAXg816WtgpNOzWriXHwt3UZUX0zEwf3Vcfya3YgeRsfoLhs3jGBkUtbjG25CrR+wMsIBQro8lhr3BBKKACMRUbWqorFC/c7cZb98z6szAWOpLVsWYdeU768bK05ibJN9DFXtr0h7bWO8fbkkeVGzYRgZN+c8w0CUrXOs4lHTL1Uax/sd/JVPVmnwed9TS8fKztV0CxJa69Zlo9X9sn4BK+x1ZSz+GzXDSjtKCDA66ACtG6JNERqZsVLm4VTHkmCfHEre55/md6G+p3qDhgEGiHY+wq6hn107KuxblfxlVWBAOpWl52zuJxs2x6kHY8x32m0HUD72613TrM27qnKpd837XfW9nBtr8cmrW7aPbSbuT2VcCl5T7LbYaNWfHp28Mpt/HCTv2U8ttKX3VbFclcVcnTqkTM2yRJLQmKuejQU1ifGPQpwr1WZfrqDHqIBrv9mJTFDeru8JmSLguejRAznukXqnEOdPKG/CIIM7gRtoFAdhabEF9/0iTatqMC/a+H4PVLP+bzXcstUQ2MTdj5QSBDgof138GtIuD4gFMW31Y4j64qrQZfV3hQ4CRECpTRQLaKotBvfEZyh10LZ2xbgsBbcrnnrfOyB6g1ERr6C1fhu2UvPXLv87Wu4A2UyJu+XT2KiShPZc6uRwiZSm7HLcv7o6NKOGYmBlCNB6lYEjXwF48OkdCB4mBDyR+EOpwCKKoVM/SrBCPTjZHytn7MO3ddT+XRT5mhaoc3DC6RiFxdyYfIa3hKmZq884mK9Iz5NZnqjVEF5muUsE9MNqW02xrdpFer25OefOMaZDk7wcXTcEoQ2/seOImJUMO0k3bkDQZXhhsw+/kYETsngCfbyS28nG3wVgLhSc1nkAct5AuvwAPloPGmD4oberzCkkaqEuEgQlLQluipF80WZYPW3L6A3zt6jhE8to3zPTMaYpbi3X6enq7DvUMbNel+P67GHvIr1VCaoUrDkAJh33IBPusOWL4hnN2cgfEWd11c0714D7fZp8se1MGphZMx61oA5hhHKcRb5Tgx70Y/aaQ6qL8TUcq2+uBut+PqCr5mwrOjpnmzKLBzn7pL9SU9URZAohcsIZvtL1ct7kwIt1eZUP78Lh3hucmtCKCXneAFTjNlYVk9OnUvWrl4MZUubhxjzzxMeBVn6zByhZGRONVFixRvjPeNYiOjwIjKHq06giN+6Bk2OF6koqChBfh9uCgm6CpXFcPPTeRwmOtTF1MkEzu26Hft/qRjS2ZcgXI0vei03zZjhY/7a6+kLFaIsSjPNV/zRPP1HubHwZnT147R8TaqrdoMfMDiAW33EA29wxFz8+TSf4/cGnLlp6CRqbD72Lt7yHvYwhEg/PHB6zyDznW/en/KtRxnlmrYV4kesH8AQ2iVjHRmzvAXGumE6u/vc/UnV0SgN+TxSHSfsabxOjUG/ui7yn1x4j7BiTKDRcGNJNcI7WyByhBH4W3ZIc3cabCcF6V4yKkEjafIpGCcujI1DC7Ea0MsRUUkULtXbR4Hs9byl1u7s/2ny70kQUmSV8zBinri32MkL47gwZiZuX9jOzKu/TlF92OoEKJv7mYNJbmn31Vy+qOJBzwRyCX0wDPICy8O2nwIqR4NzMX7Ci0y2Je0ehEEKur3/UnVAENfPJQsLx2/40A5mU7dlCoglKP63K6eQVRh2xIjKRL31Y0kYgndQEW2QTrdPo08h/7nVL35BYDApvPdJQC1VtnvIYwdelmKJ0kav/s2PG3VGerHaljskbja1zkaEGC47X5+SMj3DATpoi1EyFvRt91GX6w37I5IAMSawR5WzDxSGpZtb/woX07YrQmlbgRaoX0QWvSJ9lw7CEFLPe70Wmd2+4guZmrw3xlz4+PoKFR00gvgPDd05fVbEwdf+PXeW2qWgcsIlSX3J3QxH4POBksVhVtXbUNhp2vGL/bzIWCNjcFrcKQO6OXuFlXMZThkEoEHLMq1wklCPORLT0OlQe07uPJDrH0cN+R9shx7sq+lOeEPwTu7rxuq9XEiiqeDyVzlR7v3wgIYxmPsoMfNquQJFDkSLXny0wuA5Kk/CeZeHwfknWrLLJNHPcA2WR5o7nbWakr1f0nCBt99BkkxrG/5qYDNrwF32F+bX98wn0ASbf9knhGTicXDiUIPr6Lh/6u+j68EpsGkO7KZDEfthfoVDUNhZBxITqPvzSVsblZFHzegF4L5TgPEW8Pe4J2Vz504zuNVcR0qVaGE4oADbakBnnISEOT/xHwInz4JmK5GqOuW39sLIesUaK0PKANiFN2yF2GxAaDA4OVk5JAn1rxlcaqohD+yM1a5AeKw9dbx2EG7+5tQRnPz7Sw9tQzKvrIaBmKh2uKKj9z305aizVjfihQbz1DTmUao+8iIWyakTwybA98reK3wal11h/NRxnR1weZjuYBi5sAElIxgl2sdb2+FfpGDWthlibogCI3nrSPEz3r6Ytak94XNAQLWQLulebtVNxc8Fvc8XaN7m9v4edAxTr1/y2uKBIAPqnVGpmpolYkhd9PvzGv9dFFyqaRrcswWRuLkPIkAgV6lS2lOgZrZgu8AFAwuvAEdU4GCd9DQMATUca2SwfoAihoabObf+hM7s5sVvI67WjdnV5HX7/K1z+5aVe/fx9Hm/7S+weUvqk6IYxKewoEN/adPsAQJU0wqO7gtaV7LEZIyXt7v2bUP3Zs/m6aHSV9Fxqv7ps4/VNAFo7kN+uAo67MvAec5IGxDiEKP0wxPjI2bh3G52ko6FcfiKQSGf2CInKs8wVMeK2pRY1PVyo/QPfvN+9CDibvStczKTb9K++/Tzrn/T7UsH+ueMq+lTxx/iG6qZGb/GXxMY0G+wnuTe559W0CO3IBtHX9PU3SDgvf+Q7yDgJ4HZ61UNWUr4m3I71GS7WyMMp0DGL0CqkCiHcxcFzf+YNgFyGc+TL5RfkHvH0S5LD37593z+OP3hvVGpnqu1TVXn2C4AuQKUhfqWuxKL3HjTvKw37RDNzThuJH4xEtB51wpCoKsbjAMrTBXJbrAkqMTOsVwRx2pXVuAr7du8chaebmGLQ2N4zUtbmHfFOi1KvBz7gzujil7r2+MSQb2Pgc4TupqEqXylaUHgHSH49oU61nJTFVK1LySKCOcuYuVY/BSa/H9myJIw3liGlKxYARWWN/EZTUaFlJMdEnBfzmmd2Ftf+5uCIDgHHh7FPS1V+R+gIS2RKw4VQW2IaiJziJ4c5A4Bx0xyYnZL8jnK09Zj5CsIgQ2kAGNn1rObPWPW5t/4YvdNBWSMnT2BvBdYQiY86nmR9VPPngLZOdszCFJIgjnQ0S+OdxW/vgi6cvExY06neH8TedRz0NaU5kUWtHbH+Y276evluSeAZVvMdpHYjra96JLTEiKgYtxk1D4bDCj2qwYaj6Fpk3kkxs57Tb8BN+Q3SG79TIRv75WEMSUDc6HmgD3GDb1bIp3O/bONecMnmCTNBvrkJzmvgB6tyj2ZQGLpk5k7yuloRMH4/hhvuLM751ys+SNvWSoo5+WKHSe6yu2yN/GLhbFWUB4bPXxx3k0wlo8JDuVm0BN6Pbi3Lz6vCtHYdhb9TSvQIzobVMzxuppbe1KnV6ZbRoCxQcLg4ejfwg4excMDU7XxK7ZJjYvRjSSCqb8e+c/hRJhODh5dEXBQWOuz5ArvOjh7IuQTyP3L5LKhznmQ5wd7kI8zD9O8eoHqJ66DmJecu0AN+thUbAstC38n737Jewu+bfk2z9kraVLw3wHussJFKa5O4N5UBY+auQQ4Dh9whmXZe96nQNfG6yfrm3p0sKkVZ7X5mTUBhTXMGa+ZzEuNH0tgOpg9ntGTQiFwdX6kBGTCBuvhNO0GPOenxZ3MCZ93UxvLefspd6tC6zqcvH6TLuOOqI1xUi3HSJueP9/+0PclYKfqIjkzA7yGGDFl0WS9yJkBAv8H83oMXiJyHOeuiTZvejDB9QHbvy/LeCR+MbMZ8v9Meijl1BgwsT9GcYxySIt0Xtqq0S3SqNV4tlaDkde0OWnen20t+zhlwZV8Csz4mM2QtpHPfepzp7IB4sBviLj9g++QuvmmEPr5AvOBgzOhx3lrc1Lg/n20OTLLwiDHLlXnbwZabrjWzFOIzUBpiy+wIl8WZA4OBp4VCtRJAFmkvjTW/yJpHigbY9nAVEI2IB2TTcTvpnAqx6Zdx23klHXetb/yDnY1rMUZbGS3aaCwDQrHRT5U9w8by0ZJGVGecopOWRInuLnSJ6mwPmAUJUkHt0idjVR6SfLCWXweW2097dTwcsHiY6VTQJRTuDFw/Fya0DyZHpj3+qP0p6EDu9qqYQAwNv3+KajR+AsKQhc9Y7LzZqNrb6Dd14VRAZS7cBsVT0Ue9F8ZLAcg5Y573VnNYP94iFQDNQzEYR2OEpZ91y93G6eNlw+bddkkBeIGtz82rTiFPmqh3mzV9E95NpQUFjOjKtKKbKok5UaMZb+BmRgHPeXwWx1Fk2fgIHgtGCzlUMp29v0pSsZFo45RLyufsVskbB/0pn9kBTk2ngtCfYlHx3adFwN9kpvptJcIwICRB7HwXgDwKGgT7EyaUSsDBdbiJd1moFyXPOdQTFX8KEK2N7tDQJlXnxcSe9lZzJpEJREIS1vs7Qovq3EUSmsm7RvLFZfkTyfj97FKD1aR04KdQ74oOm++Q3iLUT4im1gqu8a5Ka8prktUTDoxBXYu1fLgTMhSfoOIug0L4SH13hM8AAPNwk2i2+SsgFE3wNvx9vdt/W89VdrZYRVZSSvSnImznbTctJZfpurxMxJoHQkhULDSOSXNDMWEAVlkNs4kjucyU4ODajYJFM5s436PxtpA5H25mfhaaFd8t8UfzUa/lL5Gav7uhOQX42H1g8uGJEOEq7WDS8s+IBmzcwr1I5cL2ad0/WIkY7MC5VgEm9hiyxFhL9/XLnvlc/WR0RZjWK5s5JwCYeZ/S9jG6dJuwUB3jtf/cwMzxyLa4bmBS5SskVUk3wvVaxrlBC/zKE9OeEBVxK4n3VGwBqrtrYHNNkXlhxnNQDBw5l35ct/iRBE5ID7Y1A6F+CBrf5N4mfQg4VOkge7Y3Yy2XEJmVoP1lCVYydF9IJQMVMzTAK5y9+Yt2rDDlv6v5HtNGTkfhsFVdy2XMP5pNPiNvj8hQp94kUrpa7WD93/QRsF9g0p6eAxRuBHVrl+fYQl5hWu847cGMYg3es+/Msxb0ROGWQ/XPF0LTDhUz+FV648agWUIrSev/FgHYyPogdd87QhcpLG06wtHjELKnwWTshp+ApAySf8o84iES447Hovtl/iKd/dI8GbjBf104tO4kpclw/JJNQ2r8P8BLsPNwD/81c/XSYOXlci3VICxUyHaq2DhD7dpII18Z4aEV9ZhN3Pl+vv0myqGVueGjt/8O7QraWtN933KzbC0DSCzFZfANljZh/PZLqZ9hE2zixsy2YkfSI0iS0YSk+HIUTbxI45IOMqzynlD+SuD0hRumEHtwzsw9j9z5EXuupNjY23V7hcoykMbgQJVR8iv2QJwoG+j0cNxwkuJkyUYUo5ISFpOqlaK1SmEbmXgupPz77yDf5k/zXHFYHot+8NUgc9VfBGOsde9npnOrPgOB9nXtYR3PNp8K7NcNuouwzCDuOztPFXWbhSONRh4l8fU6CKLO/SEqJXIU4VwIR+W5NhZ7x515G/d9jaKJNcKrB/Fo5OLduALC+UdoJoQIPs4PkJzeIqlvKVUAeeWEvFnP+rxMU2S2U3nomE6H4yXK7UdBUqc3QCFENTeP9C+dDxwS1l69/qXcL5GPVcNlx881HMqk5Es6kFnyHT0UDDj5uNAzWUXEFnh/LBIf0b/8dIaVxhj8DhzxFvtmWK4s6JZTAv9KWSCsT+QN2hVogeFTiZm6pWn27ctxk0Or9yUt1jGKl3HII6pO9hu9OIednqUvwuQoG3kzeLqyEGdgJLWIkKv/M58w3K412zjLmckWtWzcdioY1uE+m1IkjENpJKHayUuzq5NoCAXAfSX0RIzj5xjNfkUOyF5nLplhCYdE1sIdllCoc6liLhOZvSf3bImRJ/6i0QzFJ7o/zrnM0LXW8r3UdzkTfY5wWBclH4hesIY4mcxW78CacKIuosh7R7WNoFKcpKejwZ3n1ogpxhHPhIy4wgBo0ekJBlPytjQjcPx3u0fGY9s/dP9M9hwCXaOBk7DfMT/SyeXo8jlezdFmGDAMFMPPwgDvjhCMK6tnGuIGEIJhrCS4qT+dpwpiaZzhIEyZvGncHriEn7srHgZbKjQbjXhC3kKCgkbaWdqiLeqilSHBSuV8lha7Mxu9iB4yuaOk5xAgoDeixlTDNBYOwbPnaN/mXGsODnlj5JRo+F9zp3+dMiHo7oU/WCShq/Z1mPtEYuVzIIXxIKn3NrsriVTVlma2rsGFyuCRFFolQZ20PmmM5k20Z87Dq20ar7J9UxVGr/HUGuSom4CkCZBj11QL03lFMRLSkDU277NV0t4z8J0r/eBV6nKirb0I/HJiDYP+cVgBb/sNjvVzGPflvSJkHjGNmaHD4MnfP9sibRCCf93SnnKN0YhBUb5EeMeb08abtifRcy4u8KsWt3OuQfzge6lA8BRyZN+3o9Q+3TywwSV2/JbJvP7WA9n5k5KKT6909fCdSVpgH5WVOzl2LW+FLmgz40BzObe0UQts8ZkK2G8q/q2ba+kBYnqXkVqvMmwUsqNF1xbuSxQpYpFlJ7sTFiFOUbiZaKmqD2Ui4FIuyxyZNhJp7xipIJpgsOxisCRJ3k2ycqDB3LcpR+KvKBuaRqE1kXGlQoUkX/01SQSmUDN2V6L7bTS8cgVDtdfQNjA1f7gDPkC01Du1ipOj90kVTZjzULDJ9oW/bBp0zc95EanVgNhXzK+noDo+yIHmpIxdSG4Hp+fyXUJrlQGqt6V0ry9FVwH+r8gfKZ1b7KW+UvAaK/6W/usrXmtw7PMqpjZ61Mrm/NdA6LRQhV0QrR6iHBI5zM5j3mBM1lprCKT5nzOaFYd7F0XV2SwbrPYDZboL9aBlq2T0OckLwKWdhZYTFol0S1FE7WGYkt8siYmMIgLiZsjJGUVZwZ09la4B/byFr0HjtXtoWePpzv60/TPX6XuiriftzXBBIzzZ0BjEqA1dvHpn97azMRcXbOte+8+oq9H0fFzu1cXeau58L7d/N3ovp6/IS0bFoEAAa9DopbmAEH1nWoYAUG41jB61WJnqI8wzhmG6L/GI7tacgtA+PCyG6W4VHdt4fBdBs3qh5odq9dwr26QpnDu/JQN4JmYqB/QFr8rsxNErs8baUwm0aSwNtAVXfbgecAVbaE+fvwpYlZuoyK/10/4WEYU5QcpGSTTwDZQwx8bK89E1S+aBOLDLV6BDXeSVtXu1SuwM1hrtAkEEjDVseVqBLf67SGGE0peZtkXNcPE9nKIIuFY2ZD876yCYedNiyTUp4pZUB1WPfBg7NSvNuxSipNXC/AvUQSSLKIZnE8cnKqq/aX8ZMWnH3GMx4uGNUgrXlNR2U+v+f4Xu+JuP4fgw5gI+RR42BsGLY92b3fZ9NMleQmoAeZmbW2oZXOrd/khlKxghGlzhP+E47jz4ShJTRn1XK0uLMoS2XnaOEPiYhABukhGGqpRg7bxexbvX7OWKPGxXbWk8fr3GM7Vpjp/5SqQkRG0TGjxePEDpFUkacuXecnday3R9u+GId0Ec3BULsiwqy9Cq8M6BEzZLijNPHchVTPmJgdW6gJP9tN6HENqMLBfmKIqkgba/ToS1g6Is0Xlzgtr8WGckx46i9L1PSHy6Xcu4gYFqR/myTuJZOtI6Gne0dA1skBWQrGHuF6Lkr8rHkBYwxyahCmOrIPGqkfobRNPH090VJDmGHDjDMmXRmXEWqepglrzUt6JdTJpbepYRydSSEBPJQaz7Tz5wwGcaTPKYj+EidxxC1P6gYmohv/RLPuC+HfHmcLvlyaPNXs549qPCe1uGSTOwe65f4SZziKTdMCWhGb6wFF2prtRJpVBaoplZgzcPxGeTG2sQ/t8+TtqSfzKZGS7EIuyPKZRXqDzGZNgKgJML67MVa7BjI6fLSmkJtuHEo48EMJhb8k6X8JUj4Tcb0LvQtpBcEUEVvwl/+PBpa/aP6pu49FurHu3EmbUHEYadAlHwg2TZhXOLeI4npnmcxIQofmZ7/XUXEsbzWvfTvs5+aByTIfG/D917DXaeHSscaZjrdd8umrT3WFEFRwFjY+LQFQH/VH3hYPgBKdMA+fMkKk4cqfo8puRr0TPQXeH6n7Dqit4258vmIcPuIDmawDxjwQBsr+URNatLlmF+yhK3w4AZE2+/gK6sVy1YGNmxeHwU4UbKNxZWcK/wc05rssTYlVAxStvTy5f6n/5iI0Fr8NXRgueQwlCLlj++y0o4XToKJBynpHMvowpcsgPQOFvnKv9nZzHbqhSLvy8/j4z2c2XYJFVJPzWy7Vr6hZh2Yqdd/LtnkMsCat3gSsYlTXEFVnCGUob58hSN1ACte/9up+nX2Vl5P50lDk7YiUfrQYnzQcFLawNv/C1Srq6WLeNVS0kynI7lyZJZIa0Ur/mvRk/hyp2i/3ONZK75f+IulzDC6hZZ0tSKfJX6oQ2p7dMEDaFn+5STvy6Rgdz/YAkBLexXMCuHTf/Yy63rOdQ4ejqBl9aj3wCOMQt6BgVy857C1iGZhbLsXiYK1pmwaHVh8se8EIJ2ffIBZL0rIs1rvwme/oVqI7Uc5jbEgvIPP7ValDoQTviPmnmA450lJS4redn0fL7kTjtuNhIOTAHo6myHKZC5PERi7CSUZyCerui/k6xPak8gfhimXn0qUrI6/XHAJsQFkmJB7hwvxN5rHoYHZZVE1ss6Aeoq23+CTZO52rSTTjU9zysXjZUIC18e58wbhrwCXvPVScK0f6bnfE1Rzv9NzU6TyFDLgybR+UW3+0VIqm8EILIe5pfoc47qvFcu4pwBTdKCz81tpZBBbXcM6+LvrAozBAQ0AiGFjcvIZthY1A+pVm26AClzoOa255KqWRwwTWSd1uuTDUdq5h6hfzYhFaIfXNF2WPU2O1VrqnZXlx3RgdwkJndH8a1M+t7TiEqNlT2OwHavel3nm6ozQ0B2wrV/XJSba/tJ8KI2iYcnFz6lT2+3YgpEfUaraN6/ADcMx+5274YBhETR4mD05LJMbX4a73OpBrQ5qdUcoNnJZlwticCKfdGm1ab3H2/Y7d/jQ6zzWvSenZ5ybhmKf8dAm1uWy5KGjCKOJv7J8nmOPtLbmOT0jhpBNZkOqWClIAxNy29rvZPLMYMk8YJTuBHMETISlt/YW8P1MT3pWNkhDdLoIzfBPx2YAUaQa5epXUeuDHzV1B1A7yHxoddXWgj5dkGobdHzESMs80Mw5tkPmnO9vmBIGm5Sb04b8v+97N/xoAbf0dn3+G08yYTupN1sztHG98ofy9MNED/dusFD9hRqEHXDj0pvSi0yJH6z9gUmhQ7uGMov42N6Leg83Clau4v4GNCt0PeCcCDs8obNMSGB8CG342+C2Ec9+lGnXILoF9ju1EPge0oPiMycV6ODuRepqTcuLtmBd5IFts1ZO3TRc/nFXz9eWFdOjvKjb6CvOoAu1Jb0MmURkjjhoZpOMxHKABUxQ5RZTmFnL/3vuuGMVzSyEtjK2b9ODZLYcQEKvvwx+gSynZuCUquVA54vPvBTRdESeM97O79qX1matQuZ0tnVgLnraQNatNOOHiX4EYq6ESMxsYAkO+na0dQwEaj4MPKuMnXcFLgtV7cqF2bQFHeDf5N7z6mpaZyDcD3Hy2wbHlVtolnSf8bI0g+buT1Qoln/1/Ic2/pjdJyDpSekvP/goZFrlToukdh6D/wnFrRfbBthF4K9gCQqM4obeJQygVjufPk8+o7XbDXsIEGjgDiBNr1/8S+weYYDH8HNlTb3h1fZuwfPB/j0PhPpSf5cEcsbbdugIEk2HuYMPppbrFUrfqLJnscNwUepL92d2qBhmDTcKL+uQ5cyxobZnZOlKPrlFM7o4+d53p1ci9lR6MeEvGc9kR0zNJk8UOnXeQ+nGCqMpn/DhVWcFtkx5awN3rQ79l+fKDhgvgGc9A4Aw2l6TdFteK9J9Roui+va7o35X6XodtiDpTmG+SOe4o9d32yn1V3vVzDwO/Xiv30kL1OQQVfFctJ4g85bCR/YVbJBOXaPhDn57SWof3C/ldrABhXup2WkH3zqdSjADZ5MpOsSdy4oI6J0gIbVqQqAP9IH/464XIUk3uNVJl/vn4my+5fPFRli3lXEwGYBcULndTTphSOTVNmqBgb4dWf/PvZ8V34K2BFps3qY6h5xyOij1+6b8oTTprQHZtwD/MLhapujd4rOGvNGL6mXMM/q5TfGGhiOxifScpNGGAZfM7+dQBRBnTbke0OHvFWOlPBBvpQ5nFrbaloZOQ0WVOLOGbgFjmUDJoLl4AfUbD5bOWptLRstLwIXML96gfR8Mx5fbLQhrcqSPbYkmbuTwEIE3ontLA583ZK82uSol5qFXeWPO/G6XVkChqbucDMKMHKna/l3sxa5ZRHEzVzYPsDLZ3ZmfPvHo6AfdLPO49q9H4Xo6jxU5Yn9BkdYrSFQuCRU/4NWNiYzHjCPlHho8jvRWjG604wls3aNj2xfrGopR/1fO86Q33EoPsu6X90ozIVYQhMJzLA7xnHYr71zoqgmdwLgbokD3fTq4ovWF/eU2m7eaL2N+tpefTiTNT0db/YKfb1IlQy4iKVT5TLdyw9EYI1mwe6sI14g6BkrcR+zpmfqNOtaZwrsCgc/Inwjf0FRiCfeeICWWZjdWt+KtkTJAHFbWJ9fEiU9TtIzg2YeAINeFLCzUpQ1jt7IP2ImLEd0CcmK+5kSlyq/Kx6/ImGfcZ9RC1uZ9gQmcFTPdu0yIm86v4Lu8tmcRHg+X/y9FL2vePsnoZBgXHbcSc7MbQIDk/l2kFig5ZFbnq+u7shlx/ZFdVL8S6vPGDynq3+7BXXg876HJMGhgVq21JRLpJ8ftLgioYalMQx+vq8ZJejMpX1k6GLMlHzmdN8/J0y2Rg+jd5OpwZ0zQzKHOPQUka+LiH/aup5QozVvRrr1uGTWE4EQ/JR6mqllkP+w9acussfPWml29X3pnI1myPXqplV/WG8OMr6cybwe6vGMvDGTpDKbF6PND4dS/+yDssuoIQfikbLnvxpr3VxlQTJFGYptT0Tc2ZND9tK3p+ZDcD6J8ThzlOKMqc7bQoUeimf9ZNAc8oWW2H5pLaFgrv6i1mK/myG1YyQ+iHpSzBTWm/ltuP3USDCCfX4xwFMKiQecZsbD/vUX7sLhXfOa1+zhvmrJYIacr9bXrr3rkUi6hloO9W78XKQ7qLDW9nt8FFnqUq8Oi1wnl/kbLcHSNdeViebD7U+ZZYAJoNsCk4gY84+pLHtE4ysZp87h0cnwZl+3SrsWpPwpQTXISXm8TYSYM3aQOQbtSRXIfdk3EEDbddSKQzm2jBgufmOeWass63n3wHT5mApxLc01tsuAgOWQVDAwfE3A86cruMtSnqPeT16nwX3t2rbpFdSIkVYB4BoDM1/xJOJFAtz/+8tQcZpAgy1lLs2W+zPFTTHH7pDQVnwl7U2tHjsK+ffdiAcswtjY46HtllBnDtQ0c/umbzgv5ZsZReXXfkH5A7/xNhsVCf+ZTcICtxDh8/+SbEiswaPzaBMgVEe0DvryG3x0JCZJxjok8lHruEs69Z6AVNKssxH4JLNWpdS3fHHDzMQ/XIxs8EzVbUe8+tMS2l05p8i/CnAWVuG6DUsFaAZegHqI8aUchWVDmRbb0wCr++cqUop6WWLp/zj1DcBrqvPvbLjXeJ4ynvVXan5N6CR7p6AOLeu3TiYuv3tI1iSFuSP0PVQtK4ATmy//nBG2CvDrdIq8MT6uUjq8cCtUlDos1uWeNoZ+2/SbDlx1YIIYiWhggj5lKrqeDaE+9zSmW9T9G2pcBLZvPaJmzIz0hDxVj90GAD+X91ScEVT6gEiPaIq+Qs2YzIQ7tEnRHbBwuradGvZOTlEwLcuGmt4XpeDJlrkoqqnSq59Wn5SX3m0/HjCpWnODSeldxdJ1PysrE7rjXlb7YxN7O+CcsQSKaVzglH/1VkrvOAW+9fWaQn+CB1uZkUZfFA8w69zBUNxShf6X1CEUX5TkyHEuJpeEXzEdUe+3ObpwGE62E8kQNHJ4xkbKgY7975WDrGAgDRsb0QuQjHi67+EzN8L2HJSWawClSDw23LfKEHXGC92ONeKxS4EMg71ChYbJtXANK5ysby6Rhqinfz8xflOHyLcb5qef6z4Va4Dahq3dYg4m23u9fcmoDwAqZHcojH5VkLSvC26nfOvI7/U8bumCaD8gURRkcLkdhNvSZDFuwgRaflz5wx7KJrNvYKLtzLg3aWBYd253T5HwnzIAteu4W6gwkG7vtl5JYK3e0d9YDZWBpUHtvXU8XtJ2GRW87AxAF5gwXLoUI3dDy5DjLfrrXMpVteeMQFytFpORJ9XCqwMs+Gd3monAbaMVtvNCuYseghwQYsFq/8PUhtnEqUIc0NVxvi0cx0rG5FGFeAouKvStmK7wEJwrDmdtOJocN+SSP1MMt9uzRLOiqRxvpv1yKB8VwuNTBGwLyZUCd8/6W6fiItqzD0umjrcLowpU4htjEsdk3bl1MxnSTKM6PjsBwsQ1jkUUbjrMhd6JC8wVGRJmQNrURYTyvXGAcuZxrJpsmDnlML5eIyXS63G0BQ/Hwus/E9tsVpT5FgN7x98hzDsFupQmtd1UVQRUsDcU+wyAY5YnsAp4q4jnnMwFgWRsEMIOJnX299bLqsMkZKI/kDrA6/DxHcbzYK5rsizsoqcbDbZbNtZK/j5TJRzL4is6HueTE+UqJiEKpxrBMVd7SAQuhlaYIekBPvjxs7CMRbBVeKZRa255YBS8fD88+Qpv3bGj/ucm3+XUDmXAFy7OtY47TXgDtyit960nXcD0PtLAg5JFzAXjBw9IMP46nsPVEE+HT+/yE/azKUpbBKQgxwUcLaBJ5Z4z1XhcKr8BopAeIPMQzbEFFvuI9pNCwMoGkyBwdGfCHbEsB5/TPYf2Lsrzoe+o7po9XJimi8LbJGVR88/epCRoMY/Bn3fakpceSK4fPEsFBYwYPrKr9xwEOblTjkr1F0eKPtEIY/8DbVg5L1Frf42SD/2JA+Q8alVQ6tY4nCsnYpbXboxXTa1Uja1nBZruN1HuVwchV5EMvfxCe8X5ldqZpQIPZFoRiTu+IiiZ94TGBElUZH8tOyec7oQP5a9iysJcFizIFaB++kU4Pod+T2zZnIb0mDwJMvX6aNEZtzGvKvuv+SqyCYydDdiqzh66ngKO4gmnlWVfk8i/JthiUdDQhLNVUySwnDJbqAZJFdrbLNJ4KqdhRfgpR9Ut+i12I6mdqcCPppGQBghfk/e3bk0m4ZWWHr8E3qrnBJF8Oe7pIweld+F4Ez4ZxaphRBewiq/OdKg+0p9uNJoxldUG5qCwhOCICH01Gn8pL5Tq+qK6JAuJZ0emRyZN4HGMC/rZ8meBg4hIkkanpWG6LBU4JrgCgwO2HfuHos7O7yvffJEL5QweUfEE4qizXkhaZ95jv0RhwyBpqt6fHVqX2Cb1b3IP6EMVKghpnG1e2DXpeV2x1Oi1YeyxPadAinlz/WCwQu2O+R//GZlGwFtXY1leW1bKKxm3mhK7dkQ2+WweTIhSpastL1+AUmyOMuo+UMCRqr5+agv5TD+rtXSJecEqPW/wATxZUGPfNw1VIPYwl/vnxU7UptKPLpVsEx4gh9x8l0QmXpNKfcEopy8u9NKw6MUUdbyncdGoGLZgz2aWBzPFBrEV5Z/qYGWYaI2hTPMg+XpLSBXrRKpHjVCF0PyQUHdZU6PkiF8d7+BQlMyeNJsHdC88pHJAwHCNZqUVNOEAE4B7fMNgVUifkUGE5ZENl+id0gYznK2JH6Pf9aaATgTojbMalZYDq6u2kzUA3dW3BGP6UQ0L/0MH5JTFbyRDuvqI+21q6hQCZNCh4Mk17+HhAKNgAOsxj7vvw3cc3ipu10dcc9WAGVg4JVf7oSR1elgxrivHf1YQFiq4ejkAEPdV7CIvOyTCNovVb/aAI7H5Vjd/uk/oRIZFJFTFveuIQEH4qgoB+VucPOlAfQJyyZmhdUl5qAVYR6YfhIDAH+K/PEakQNmgrwEvaYVpTSaiZJ/GKs7EBggBfOGuF1cQl7uXDgEuDHcY6hSzzCPjBe3xs0VVtdiXAZOFZH9Ily3US07DEbqrdLheax45aZQMGPbCCk3mbwkJb4EVHTZOdUj9Dq2HoPWc2AR9jZx26zm2sONreZD3EBuDoFs0Mm0futafiG4dD0hafVp5tcpHbLkLuERUt94LFPackz+mifRZveLQ8adnmiYz2LyTjuapv1g8WtLI6YrS6qFlNmF3pMVqqNvf53oDt4zF+N3do8A+TzELzyqdVKJ4LatM8moQTAv5yo78x4gfKpYdkycJWeKoU8bVlu2EprjpxdAeZtWME+lIrL9Hi8ergjJip5dXBGELQte+LuWuksnIXEUGZIWcCeS3L1c3N/jrTmzGmVuZHAVs/i7n9PXbYOESUi5zD+XFRqTXGdTVZQTq3ocGB2f63b5XXIJIB8pFK1el+if0RTdArQH3o2rq4sz56R+faP+D0jrXzJLphbr7G+er9eZpbial1cw2cJxW+nN5d5ONCZncmFSl3RTcjf3AfTk8UhjEfVSmV57WaqUpur3Os9Nzj7nldAsOgeP0PEGOkH1xPM066fwhhL8RYibOWAFL0BMvZihGyvAhNp1PvwMf6NCBhDxkbA8nQK+OO2p13/xvRnEaW0e7C3x9jDeKmuVIatSfyipNfyS58F9GxAYMIM+2npU4JC21btzPIUievpp9l66HorfGvweNAbR/n+9ALx9Mdkynqod6XMfLyXoDYzZwLFo3m4HBbBydwJTYb7odK9mQ4SG8+zM8L4ZLlUz3rSnOR573O6yvpVI1IIeRyrGc3BLOenDDJQ6SjfKAOj651S68mMbOfaqNdM3sV0IrfoZU4pXLg6j4J29ti4lpAXt3IarjFWkPlMQ/N16xtrYCsGqI4S/cR1dZPYym8aHSxINn6HcJOS4mEs9Hrk4v9eTswf+kteQNDIdJw81G0u9vN/2es8o0SfSBaUEKHldC3exxtHgRS15+m0tXIYYIj+tpi1mRQPydL+WKPiSY4QN7kAREBic5u6boDssBwAt4iYoq8z+pPr0fKfKCCzOg85CHCyvfNHEl3ZA/UedYK7f+o6EC+QJs4aoA1WIW+sqy+uQ3fsEVLuFqkPZoZtbfsmY+qYvyRdkcpmlW+e9w3FwiyzYI0KN9Wb9xN7p0HrcapkYvkUJwTyc5fWGOxQpl8kI28w7rqeUDPdiXwGTa1QXnBJBRAkT0XlF4NYN+OobkOwqysHrA6jAfe23jpXxl1nXHgzW5tU4ll7+inpMMVBNFMQRbrUdqdzL6urG3vmm0sx1U/oNfz9F9S2G/leSbS5W6LjK4gjrBhSFr5Yy4rnOcnrVSv981IURoOUISbifJlhAofMSTyihIrqwAJBGuyERLOinxUPzBdozk/xi739tyvGA1p7oCcn4MtxWdPbYhB4kwkH4DAhr+dfJxjyrzU1QMD28w4VSI9y2j4oBTRv84uaPDCfc8+4VK9jXSc2n9Q4ZMflcHCbmDXXFwLKnquOW08JH5KSkbhIr16ArmMtIZpfLThz57sUE1+KAgMFas69bXnpb3h4avHsF5546l7mPaPsiTTAYpVNVNljtNTbiqmaVri7foz/zwg/X/UP/vCw0DQOZ3CZy9EdvonrAkZ3SnWFP9Xwq7G0ggNEehzvmazUcHDAUZIwmv2P15jRYCsez2HL5qxf2PBFvs+Hcy3QVkO5MPPYcYTGP4GGO9fha/Ulp6vTqPCi0G43cZTtzKanjnrgla0Rw0LfeBFrK7ETNCpU1PyaN1E8crQ4DI5D0gR49Zm0yCEWDcZGZvcUM0KRhceplCME8yoIFicuZrncFoNhu8A029YEQXMlddIaRLX/EqecDS3cyrbf/I5A2aFDL8lE1p7eStXnICyFiVayrT+yxltqoFTIJibimGqerEA5HvaJtti5YCBZThk/BCuqagxRT79LWcVy5ZbSaI/BDJ5WwGILENCZulZkFNMqJedd6zJVHrDqmr3ypQvRMbafr70S88FAouYChXn3lC7lAB6Y3lKrM3Iq7kZlQWg3M2L4qmCTsX5yNwIIluBTCAi/8IPVYEBSUdXSj9FIft+oeW0Amc4uyXj668nd89ZdDuTgtKg5mUI66Gc5DSOZ/6fZ38Aa9i0sv5e5pdGxkXab6GRxaiXpDTgkeBp/cZPCRbUVr6Aa1aG2oMKyWv+ZfuB12tAFQ98vZh+vi+8O+qDaj8K30RpCz/kUmnzkyEV1eFc7MRSN3YFjjjOuKBAMkXc5MUncLraDQtOfFFDOG8Qjglg39eD+tKjSVR/OR6EW6HeYvIK/VuTt7aPKwUmYQhjCi5eKfqh/HRWI3jDPcXI2RtD/lKb5ITigE/rvXdJ5nlwBmim5uDXtCosSCg3c7gkoGjiLBb+hWJkars5eQmNgrOorxZUdZQM58uJggrVu03umVlWszPaNEYIoSXH1a2s4BRGN3j84dWnKACrxEEbNOHDgiVuMUBjILWf46KePq02Ri2UPL19OblQYKNMsRUDKCCRRmIsytIqByPkc14IdEXU4VUCwKfb7QfeOM7vVD+SIOhY2EQ3LVmXT5/LbsblKpA/4XWDvh+5kOyh6kFbxCJAMwWnc6ptnitRnuw3fVgfPHH4/4FgPSdtn1IuQ6BOtTVgQEuBvTK+EMxaHVe7T8WoKJMnh2ESODuU98gQEn6T9aEs/NUwu38bnP5GoEuzpAxVQu7c5MzlWlsxQPKJGx2Q0Jz+Sm4G4aX/5EnmA/CpIHX59dg5oAfWw23p2lgaQU5bxMp03RUilSwFHfJrQfxf366sIRoNT3F4CCI21XRxy1nyJX+qv+l/6mV7GvubBjgmHriY0GuZ0mwWyo7GqRp7pbWDmC6GtlPxL8L5PBGdtAFeviCj4m/zeXOmOGHfdUHZ1ML52RxMZjK6diULfZblFNLesjW/PoEAwYA40uSCxNBqLppRnwDfGX0jdPj2ZPXCUuFTgai2x8hcc27GNFXbczE+I1TeagvFX+/8uUR//gyDFei/v8OYjHCMK59UhaoqFjVOb/7gJUwf9acz0kGqpPZxZMoCmSTh46lGIej1pwIgfPKRM1ZxXhSf62Wng/BWxNSwqCLze79WEpsNFjlV51jOCDr5N60f/Ry+VghEBfE4zhOMalTLMAB2kLQKB/KLH6uNngr+iqmOFS9LXBN2aAHtdGN5i1sAMU42I7nIHwSSaZmBOOT5IrZBXzvrU3mdpYCeOFLdsApGFUbkL7aUYlkWo0Ov5PIPxzA5udSkeJo/3v1gWOfLX1nh9e3wAG64rfQlHDTqYmmJrd/vTAoAJB2pdcN8oL2po3BGXqnQXNNC3PTtrGx0wRmrXbB9AulMJiPT+gXiDw6B0hwzh4BO2ycYuPR7CsaannvyZ4pEKxDITqGzT9cUSB0Uw8Pk9QWqMqiJBHAwz8OKRiAJ/OCbrox86KylZApXU7NL7PzUbpWTXa3a7vgr0okTp5180atgdeCgEHt6BZE5VY3kaifKpGi5XTnmsxERl/kjnpIxsAjx923RLm13ChTUkQ1mmD1hGW3kvg7/dJMHR2GPErYRz4SNtZLBK4RU+Nl7uyq1Gfs3edHB+9MT0zt86QoB/s8iJsZTgxzp4UghadFkxyy65pheTDBDgDIqnLXdJMO3Ye2ZkBn0KQkN+ECItRkLti12Sx5myH6byvgRszKXD1nSacO1r0IwvBVB6AGwP52HjsEQz3WJ5jsBlHED4mTeUb6QTKXInfSobgqUGVQrTkpvj2NhBiEc6GDwBC+z17EsWWEihhrUIK5I/m4cZb0K4aoW1rurtnQzHeI/OCvI6MsMDMoASBPGejfN3paVhVlXgTcqj9sDbgiYcbB809YDeU4LIFKUDe52DwWsc5/76KJvfi3XqNPQfS474f9q7IeITBe0j1L1t0yGpR0ecfbNlc3rCP+e35gBrRE1pVVR4nauQY182R8T/riMFRjDge/a/J7sNYtPsLaVPeZS4NXjyNyaw66E0YsO1Z72oiD+WQq/Lx5/vO2IJ08xlU0UOcyxk37kcgKR4VvfcQXlhzjSA0Ea3+0+Y9EBnRSna3TsmT/zuse3E7KdjSOGam2UQmZDIaq3R6zFDfIXm/x27xpqRgAWt1QjS5081i3QIxe7SATD/sA6Yvr+MZN4M3lH4LM7I6oHJgNqXUENV3la8RGdT0LZsL45Nic4QNu70X+6qZo7YABXmZ33C2IplCYpceVNL9U5de6CSIi68NVbzS+9+JVcc/+qD8F0edc2JJYUI4AMnv2prn8w5WigxA5qi6enaTbYTQMvGPfEvtKzBZ7BKDaUb56b4cbes9/gH4fFtXlcg0ffDMZzcBsTZ+H5C2DLL9Kycx1C1RDumI5tgwk8X/iDW5nnISUc0VIddTTzhtkCCBBB6FTiyQAChr+5hBbd91RxZiEKZio2hVHAniSKY6u0xCqsDk7MnUvWejRujrRt9Jtyjltfn4bQgTjLbjwdOOc7edcFuz+HoB9RLRjqVSVRRkrfwJQVpCwG98PkkQj7UnZszA9n5U1N3XnDK7MrMCV5+VWJQtG3yBPess8wxPwyHEfL/YgC5Hmq0sY3p5vtMpR41rh8KM6KmBP0HuZjoQllLz7mGmInkKNYrbzeHByC9Quf9z1Qh8O4VK3sb2or4gyAY2NyCQFSpdpcKvVpRa+sPIK1PRgW3/NLg9GMuohoCXMUCY8WyR2hu54JDuPDb48yzzsi/ec5Dz4gKJgmY3uSgRV4uLGQw+zIuDn7A4+rWMLkzfSbAJhbOu5W7vUc9MzTWhBVJzh4thblWjeAnveh8dHHF4yiIpj0o5g4R/5g4aumDkMD8Y7A14Nguwl5HKIkDTVe16qvJ9XtTyBCLkyiLUkkOq2vH7FmwQnGtqeZOCMu4P57/tpH3iTXbrSByDP44eyKVra1uQQlYjDU6aoJIj3rL/dyX4mbBEbJvQrZmjHUfiZ6GrM1hUkKxRMeKWY1NkAxGCSEOlRsPB6TOLQKHb56HiGql/9jIzLQ4eQnRibdZNaiKCmjpXdud8lrtzrs7j6OvmkCrCuV4qSz3a0ipVeMHUSdT5TPvMWXZQ4/G+uhGGLJpujxD+rq1azkwUVwTYIZ9ODcOSUEuHpuGXzRk34eIAAK9sV3RZHyF0N3u5svrjaOMKgo6o9L+qkOhqoRgiFVcFMtwPcZjHq76jnLBY+tn0f7B68ReBzOrYLdYMk1OtVxj/xmgOaoaHp3kTWkl3AXEjg1WKMKwBDmd136VG50U4xLNi7XMOBfOGArWFyXzjMgYDTlPzkEw7LfttZw1hrmK4/6/LC7P4OH4elZJxZWPIxRAYo4aPSrKRgd7bfJcKliTt696WzwqRjwWgYNy9O9nAEJBMFsVzoM7edg8+k6i+OQLW60WXl09BVW5B/PL7U+WaqDqFnRblwprRq3ITScTICio3VzcrQYqdGQ+zxChC2Vwi+L7dw+9ZcUfQeCQ09KJSaKiwJK41AqwyXtEsOZxuLPT977NOef8QVlQ7v5rjnMxGgbBajXMrtfV08Xb0EjlU+avdcq4f1prkTZXiwO/XTRaHVmyqU8fiMtk/Kz3QABFin9MTvGHSCsB4IFwXXdx6mr1H1QQ6u5+ER/4PkNoUcUmJUqh0U+kqrWckFRvokCEboNF3BgKedaFOhUEzno4YEpN/Vs0El1PLhGLENgs+InkB15OBFMAMMGfOsKVnxrTfdQScBi2ZLB3KQfKXLi+l4XMIvkcYj/MKecBFol9ImL7nfnI815VrIHV4g4q+KCyDxRwuOMOEEyb1kl7hD9ffAJILurS0aary/O5J2kX3EabknbzlfN4dTVycD1JdaWmZK3WKWkY6lCvHXu5NpptXVlqqnhluLvSjD6uiBkFPgE16HxbLFIGOzqYVXXi1NQ9n7++dyIfeMCpSrMroo8M8+3o8sZfi3cT3sUtQt+804ik7ikBTv+LtoGLLL36wji0kkAW6K4XvlGP8PGgajsW9dJuRNNynf4Xs+7w3QUrf6QubM43bhc9eqkg5lZERvUwTT2WawiJFrQjMePeoxv+IhPeOrZwyMAmZ6FZOMNHQIzoe3XWzPc0jbyomnFMSrdgq2Esv5I9PIPJdzbucCU2Wdpd1HNYVplDWamATWHUZ5iRNuZSXCRtaRwJRuSryUBPueJx6nrqppYoZ6eysvpw4cveU4vywDFEx3ZoTpE787/XXG/nmL9ceaVG/nwjcx28J0Ckfo8We9lKAFQncCHxE96nPgUsVJWN2fRv6odyrrhxvV0vBGQZYOReBugiLaB1OjKD8he12IUKBnN+wsgk0wXECkA4JR18Tza3clgNrrb0HSXEGlDEMMXZ7ogf0wGrUxxBuAaT8Fxh4/XuosSp7DuJrS9wBdiL15ozwT5aFKzzYxRNqn26mYqFJvqDkAJpsS+uQQylugfAeD22YWRTnLD7dxKNCtt8JxYcBJfjOkP70ITsGvSKqWkXZNWga3ZcvxvU/Xyxfj4HmrXDQNaEr1YXHAViR9XZik0seMtZQDovlKdpd6jV8XLxbhFEmX89jLL5w7Es4xqdCk6jDz2GxNL8NifPlItSicWRUNTHfb6AbUuW6jZ4p8VfVQIrj1hlnr0HX3WL+vQAne6MgSRyL97R//+Tt0RAf+fLIKPI8SZIFXptB4CyJRzE6AKaKOURHo7OdTRTj9VqmChz6xKY11Mhd34iDDUcs2u4K69qTpIaB0TVhQKF9VNbGOmuPBLTV5bolQ2ROCM+nyvRShDN8cRmwUes41mPR+XEIwZqAZDP+ODpiR+NK/YeTi3IpyACyNl8TuuuoTORoyGXcadPRwP1G8/mNwmsQuMYa1tCpR5q0VVBnDEQXS202rxYDX535V+BHyuV0tkSirlGIr3ZxkPk7jsdpGW6xYYMmvIIpDYLgx1WOxGxF3h4p+iOsy8VwLhZAY89zFCMEQeTYqA+YEAClWp07pGljfj9d9Zac9mFFTwVhflc1jCBz6YGnL5Jsc33AFVfx9944/cPxG0H9KKk31IoQ1Qf65mSFaznDI7zPVQsekPr1Ir20uD03pNz6550WAcRRky8dS4z3hVoEY6uuqEyA5V3INb43ghqqQEIqH6hwPFB+mFkylE/kTFuFfIfgjfdWRGh9ijYnEcV+30d20sCCs+BKJuBTLruFMYne7jMMbXzuLrRHxgKWSpnrK+MHNh9GlgbGi8lelrxKFCjSz1LEL0yc6YXr9cHZFRMRbhCvPVxcMbfDkLFrCZ0/2w/kKq1s5toZqiFpkJwjrGyjVBecIqluO4O4KFQpRGr6Kcl08F2Iu9lW4fgfH7ZhIvDagBz7aW2pUFC11xOh/4IeCSVs5hVbxIVD8OsjPnLEBKu7QYzE9xCtxa391RZm29eLyYLwOvHDiaaymk+qcokDiWZNp12JWQHe3y4SsL9FKKDd+eS+7WADnYKAM5j9OYQH/YScnmHmNevHz1AUTHeUQlNZY9IvlzH38xaLB1d+cX27KhL6d7R+crHn7aNZyYHMsuP3Gqk+oV62fARCFk6uLlh+4Kqq7Gc5xPVQxIuMPTIBfqd2LvQLa/SVrHipqNJV1ymNXpNy15lmTMAEhzhJAJkrxoInlrN7U27720UOGzV/N0fotSQ43HAg5XGDix8Ts/QTGgLO+KpqPnibnQE1hNjvE2KjwCXB5Nom5yYEkGed6Rh0KJTcYJcRKnxa+ADK6Q+T3SCdL/Rzkxe85FKP+BXHme4nw8lTd1BAKuGbCahtPgaiIM0FXx8C68lW+nGXuGhAKdhHz7IsQH2YFPab0QYkC+RXPI35o4HFP0J/k4EMquNYhCqTeb3zvmtsF3AZliJEgChr2CyoE1paMFrdgWxSKkQN5wqHP1dGUJd2G8vACI7VxtZfPLL8jMurDjs5BySerdFNSQX5OvhxFXEgRqFQamzVqNH85mAUlnsopoXGDulUUHtY8jKbY2cehpEIFCIPV38PsJ7KCpUzX0gsqHFcmbdAENXd+mdS8gwSEhdnlCxvEY3OjdZJ0KY3jXf9IBbn8vghsa0amAnDhiXyCbnS14dgoDDXT8puHW1IDZvLQT2TonqjRqlK5wkpZdo6yVPOJkM6fp97PnNspsR12F20iaX3e2m/dTEoRFmXJ889po8yz04lLF5p24wjQbuzqdmYzMxliLNHdREaNvFyk3T98g8vDGwUfLeXPp6+yzrcjo3drWOOfmKyYUAvXPkWFpwDW+/BBiQgQvYCgSLxrtsqKAtF3Il0fQ1ex6rPesXyACmELxR0NtcdryXrDtdXUFKEESHpgBFnRXIixGLbOEysYn+LW5rOFmOA5bjyc4Xz57DZGaqddy54M0YnmUE5zJGA1OrmiWVbOI2rIXk85/C3YQpGhQqAZ0vUwXCzYV8q+xm/laU9f2R/+whgAJMIuR694gLlQQ3hdZi+ZdY22CcxRL5hAUVcVuX2UhK1cHfkndnkIZaBrVlJC98THdwl1elLrqKka0iST8pM4cgZFPnULxduf1M3UI+pAtA87NefI1thyJigXYTsBelAs5C3jDttAlYR+hgFN5YQLiMWqrcTbqlAb6pBUKoPgv7IhDzpnb074H4utWp+y9+gspId/mHhsX9G5DoI44yNTE/Mu8Os4ZptDhaWbOmeH49YDqevQN4ykBA3hXiomr9ImWjzHxL9bp3Zr/JDGFOkYykgquGhJrwYDUy8SIoR3kcLF8EJzY1OvY9QtkbcyP+C76awAc0uGGpdFtPPSFnv3N5VTi+Theow6PqQ1coutIq9i5B+3ZYQTmcK+GSdndwu8bMzm+tsMLR3CgKA11VqsaxuusSCZVhqVqAZVfdQtSXZ87YGSCdCNPB5mOBD4UcCSTjcnZLLypZS3179AO8B/9rjrH08ADoVv0QeobbB8Kynwq6Y6+50HKKc1PC58gZsgqZxeSMXNYT1G9zlFSNTuyNAzIzCwOU84SNwRfNUuOv4ekmx/ZDz+A4Ss/wafkkVoozVwWsxziW+8s0HEqUNogxbCzifCIQQcIf9lgvAdJY9Dd2ds3F6b++iVSmPDJ6rHrZWPfK29SfwqdH/hKckLSfPGoVkNOYHJRhH9RauWQdmb7DJm/lw3gWnz3j3FiyMXOzrF8bdh5bdXsgcgAODGus+ZgGe/xXzy9xSODJP5o=" title="Mekko Graphics Chart">
            <a:extLst>
              <a:ext uri="{FF2B5EF4-FFF2-40B4-BE49-F238E27FC236}">
                <a16:creationId xmlns:a16="http://schemas.microsoft.com/office/drawing/2014/main" id="{3D96A65B-A178-4390-A9BC-0FE883BBEBF3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55930" y="1598930"/>
            <a:ext cx="8232140" cy="4879340"/>
          </a:xfrm>
          <a:prstGeom prst="rect">
            <a:avLst/>
          </a:prstGeom>
          <a:blipFill>
            <a:blip r:embed="rId7">
              <a:lum/>
            </a:blip>
            <a:stretch>
              <a:fillRect/>
            </a:stretch>
          </a:blipFill>
          <a:ln w="264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6425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1024659-97CE-4DBC-8A90-274D9084DE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5307"/>
            <a:ext cx="8229600" cy="990600"/>
          </a:xfrm>
        </p:spPr>
        <p:txBody>
          <a:bodyPr>
            <a:noAutofit/>
          </a:bodyPr>
          <a:lstStyle/>
          <a:p>
            <a:r>
              <a:rPr lang="en-US" dirty="0"/>
              <a:t>World’s Largest Unicorn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2104D8-6F34-4790-801B-CAF44F89683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721642" y="6489709"/>
            <a:ext cx="20773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hlinkClick r:id="rId8"/>
              </a:rPr>
              <a:t>Learn how to make this chart</a:t>
            </a:r>
            <a:endParaRPr lang="en-US" sz="10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D2EDD9-E367-4784-B3E8-3C5DF2E0AE61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08738" y="6489709"/>
            <a:ext cx="66645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</a:t>
            </a:r>
            <a:r>
              <a:rPr lang="en-US" sz="1000" dirty="0">
                <a:hlinkClick r:id="rId9"/>
              </a:rPr>
              <a:t>CB Insights</a:t>
            </a:r>
            <a:endParaRPr lang="en-US" sz="1000" dirty="0"/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7F0B1848-BF22-4DC8-93E4-49DC5E04E32D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57200" y="1215795"/>
            <a:ext cx="8229600" cy="685800"/>
          </a:xfrm>
        </p:spPr>
        <p:txBody>
          <a:bodyPr>
            <a:normAutofit/>
          </a:bodyPr>
          <a:lstStyle/>
          <a:p>
            <a:r>
              <a:rPr lang="en-US" dirty="0"/>
              <a:t>Twelve of the 20 unicorns with over $10B value are in the US, 5 in China and 3 in the rest of the world.</a:t>
            </a:r>
          </a:p>
        </p:txBody>
      </p:sp>
    </p:spTree>
    <p:extLst>
      <p:ext uri="{BB962C8B-B14F-4D97-AF65-F5344CB8AC3E}">
        <p14:creationId xmlns:p14="http://schemas.microsoft.com/office/powerpoint/2010/main" val="27972999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tgGuRH9ya7jtvyZJwCj87P3R1uMJqmihs5duLMoo+f1GLbpOpQz1ZxZ3uignoO4A38+UzgwLdpKtffiDLda5o7ibTCnkp8js5h7V6MvQm1AHKoaPLzGFqJ8OFw5dcvTiUmrEDmGR8eE3/l/h6K/Tuu9n0hQu/OdXAfq7OuFJYIBYO775JpSHi7pGXv2g7Yzpccw73bm4fIslIoR5GzPuOck0SroHnhFWob8YZnlIYBr37PnosmubW3AojrcdfiF3HZCHmVnKsXs9QKAqaBdCS3FCGr0y2ouT6z/Bq1jBQ1mWWvq6oLgr5FrZQNqJzUH4lSyhCKfBM8nRMTzrpafHrg1NH2oS2NKZGc4nhDDDabvVPjfuJWG+3gIDiUx9xguNfV4QAKBpOmEzabXRDWQqeMtcKmxyJUnPY5r+hklEGtrRY5aZSc7wRoeWgmuORe1x3XlOzxN6A6d5z9//TVy0gZDv5G/SyxZrmHCMnWoRsaEtohzgBUCEm2JYeTuuU2OFMpfyUPA9uhr5fSqRjZaQRAZBQCxiW2EQ864zSZtNfxqQ1f6vBLITYcZO6V9Zh3WYBZrVa53WK8jAXDIaASiV3KFw92FQMSSh7JFjGRLQidRjjF00kOOa8EHu77XlZ6+lGgJEUNdLj//T7bi+bavRwaZsP9PKgbzUd3qNzTc9J7kqiJwXmekeDk84dHdnN7yp3tQkE1EW7uvO73JE7iSo6EnfGNIN2IRBI5Y2CUcLQqAQsturochScnNo4UeQVxa1yjJPtzdJu2S1nzgWX1soxh3YQ6rQq4L1UrT/a6Ljp8fV3Hdz5ukoRpxnlmX5nGXOkwWlVzdY6PI3OVaNzMsdqte9IgflRY+QrQctV04t+OIg8x6EDgyrMv6BPR38KYyfa7OG0keRF+ivaU+vxSkWjpjwLOMP4dHLlUIvVPsFonDUSJGDvmMDD5j+LtV/SReqpZy9piPZvTMo9fhOtpTx8aNBag/sFS2Vvbds4c1HwNj5/5tmgwsfmvVtws57wBZ5s/Mlp2iGoHFrRA8ZylqCKMc2LLQkiOitQYsoGtxHLxb0/3Wm9vIPIYz65v1NKBcBZNjNydMB8oEQNf+M/EjhWS+DENxqyKC4GBXZEVh5D1o6KbHrLzDOvdt5VZQ81G/VKDBpaWy8a/01n90iZEwgZoKJ6sF/cv933tVOeFU45k6EIES7DnTRjtlbJ+Gb2GQmVj1HDzBnk2I1jqbWXteP1qpebUZiAPf6YHQSWmb6WLtzizxJBLqvucmHMggXNevCHWh/gXOxK8itVn8IKfhogNXlpX0bYGV0AYFjXOlyb1gY0A9C33y48bUzJp4SKVJTUqbyx6YhCOCS/W5cZuiTfCgHdsbSE5HOB9cdmWgFB/wlM114aX3IVubHlLEBTT709TvtG1doGVUEXwWml5yxtgxXwL69ZrW9pGP5JWHNAbXTxmIcpqpPPpRzzeMM2xEHXhHs9Bgldfzfv6T3pWOggZyihH+kFIwTPjVqdTkV5pNth+uZNmRpi6YCPCc44UmlTrCAjx2B0yA9R/1JYfM/XLUzLVkKjoutnzX6NOuD4Ov0/GiFXpulQC32a0/5EZyhrmJku0QLDvcuAO8EODRQD5Da7HNELtycw0/bdeOU7nR0hXRUHEMREdSBs4Io63eHRY3Ei2ZVF/aVdTuxTh7cHud+vHB5RayKtVhZ2sr+cI3d8Cfu7W4/gwwFm9L9pvEFppMiOhYjC4AJJtQymFREx12iW3Pd3AofIIXz15DBrpDsa2zkjM7bbz4QSUMtS37aTJMi3RD8hOb1ul2x2bBVYYN5mOPUcZpVFIQkBgTS/Pxo3tIlnQWo/m6STDe7IfwWJGpbPziWyZ+t19HYiRJNx5yFqwASm3P8ROvifXIqELV3/TiS2vu3iKMsQVIehCgwy7jDP+uEeQXikVhT2g9OG2vqVY1pRf3bvpnfU4lYLa0mEO29OyGdfeQ/rgEgxiOzaP/zIEFuKAkLlKNGKZIfcl6PB0TKikIQUyACuNezrEM1USxeE17TlQPUeiQqEb3h9oyZmSXONMzWa91eg+1LzGoKV9EVt6IlKIJOyJStAbD3CfwhubUvZ+3r5pm3xtpwjIRo4EtSSHEdOEafpmDm5pY2bXqCCD6wn1+1+ApknCkQys/K6PPy/LWAS7w2YQWe5unh2aiRqVlQD81NPLzn1eMknNEbOMf/fmhCHd35yUVS4cqZlpRFm5Kzxj/y7eBoIVzcC+ZrntoC1orJjCT71eqS6KrJau3fzrD49h2GtxgdfDYpqo/Wl7bJuiMg3cQ/+qjiriYKyxlVrTxo3DVxRiDPw5VkgpEcOJdVjFavstbiAVBNxGTC1zie9YYZrRtlDz9glI9GP+4KA+9sLWfddzP3bX5onhSpP8dVU2ex3Xq12OStfDe5i0PI8YChpJeBtH/+l62gc6rCa4dhqWDQXO9uh7V0v6fiaIqzvXOlLahcS+Hk7XG7YBaIU9ymcJLH04lqCbHCNT+8Bb7P/2CErfQf7louGhKElVLWRZoJtCrgZMuvZ0S0vcocGeVTnsrRyAdYKeRaDPUBggM4F5ugj2QxMzSE8NPmkAF80LGP512YROivOU6gXaVzPdB9OsG0ztL9rSHpinzv7/rw5yTtTNQyntURZy0ORGyo0D98XHLIwRDJ2YzLWhk3W7LUAdedtl1B9cRuZAV03+toMdiF5o9s0Ni2OyMW/sao907OioWyad5Oa6zm7T7wYHPFux0axJBWBg8PMzha13xRzyK2cwz9WPllSnNagaXZGdY51KfgerHfZ3732pOdBtvvK0LbL9irq5YiuCtdJNoGmKD8LL/0bivaSJyqanogfIjWmUuGjtCuDeN28ArJW7/hl9arF+Z/EMwmOPIYxlteAq7xa28RjgzANNGhJkhC4nlE/3/x+Xwz+75zzkx/JJPFBJnt54ATm+PFOKH0/RLb6Z9lpkuPFPC4OIBDQML87LYpd0Gi7X9uEXK7oLLTCHZumHc0dlOqnBqR3vly3fjkpA9F2lSvGgxl+hgR+raWlzmotyAkBucIdDcVpcAi8G5mdbIB07GyX8gF34F0GqnLD5m2XGYb78fme7hXOTWkXGYJ8oBahcUxQm61bbyh1upEnxW1LTdsjqd4tw9bhGqW2y7WGOZULtmkkCGdBmVEcTu1tDYeQZ0fANblTXruCzfiGRvfENWfn7+nfBvBnhIi93KPCBwNYWkfFofr7ZoVmIvtEJBzm+TfndSLVbajA9Y21YoV2YP30IMlHwpLWWHZcbaHwUMSlQRJ1H2EJ+J0W2sSrYtvNIbDMaBUXAebLxVK0RFezTZX9gnUFB0EZcvzANwNI7b9ZgrpObFnhFFUTXnSQ+WU3RWp9Dz4jTi0pYdneyU3Paic0gfkc2xjEacNbwLZR5EiUfyGAn0wQSF566sPWMvbpyWGrXiMZk8lvW6c1D6EkJox0ROONYpRK22uQ3bLHl2k+iwX0jWgDfjQ8uaJEC8zN7RpRG6tW5/D83QF6EbuL8b6L/UEFsmXWn+seaZQNBIvGE1NaVmi0Jg4AUnp9/c5rw74ZF/mCedv3UdeGHwW/br77bPb9lYH5GWo61qZnavyBsk6IYSHIrubADGdwbpxd91aFGrZKLGBImV7428BtS/K5hlPnv8ml5qZjFpvEc3zkka3PnCmJIHfum/MujqyB3yT2NaDTcb/XvbLyGN+wbSzS23qEIMVrS7N01zzYcVTYEr+QIcgLUAIacrtEiNTIY0XIEFo6WxQfuPicRHDaW7nB6cnTqKdvHEOsUSBvTJ9n9YIa2Kos0NdPsUqMkAR4+SXpeoFl7jOTnQRm/m87KB4B8lClb4wbpj+IW+Z2S3JDuw4JG/7ygHTPixSUs135jm7u7RGNa1Ue5y3+3Nm/MVf/zNwtZduu1tjKiSfd1RVTADvPW0JcDCwwOM/Pn5ezxE5CfGcObgLwL3GxA4PN3ApxNnGmNQud/F4lUj5znGCrFD8C97w5KzktdAvGn8PND1VMvwWOs1AjkvyZqXLMJ+7yO4Jr3tbi4VZY+4Ka+pIehinoTpeuo+dGCRksGU2Ot2mN0rHSW+/B9rUl/F4Cb9rU++nRIZRmwtaU+V01/ZpYazNTrZJmvKTw0tV/n/LlmF94xoth+BGM/FDDmUJzHYu/DPP0imQUCjbY1C5jJ5U2wJfvmiGoT6kVseDUPpxu8R0ZgCS8f8RuG4l3/Jk/TjuAhXbNMndSCxRlkVIo9LMG4wtrgC7M5wGMqN7ckTTcpccxRTbMsldQGNzzNDk3PZ7hkD08wZm9serPSr2fbgDpmPpkFQNApH7awwI67phYJ2Iw36jshY/pdSt6fqse5cheqnt0ZA8bSLanqZg4J329KoOf7ECDRIAYd26HYov7hLMH4HbLEXmAWTXmj1xh3R1gh0yAneMg8A+8znlmSfeT8437VpTYQQjK97J1ZluGgbq+cvSAYrz3gL8Ix4U/w+/5tk4nHHF+5t+NqPwRt0nwROsffs/Fev0nEqdCzRiShIdIGuIDVyXCoFmVaSBNnSODtvVrj3QPPjHH1EjEWLZbqymqu/5KTABkO6gZjWOW1YbHZh38X6Lgem46Rxy21je2ZEp5qEYoyvRHCd4VyceVJALzq7IGI7sZzYfTbKkXsBGkp23RenaLBkMfpRnSp6tuEZ+NrWcHo7TbO0iGXce6OKMWGfqBS7k43MGpuAj31LsgNHl1ttxCdgDSwuBTcZ78YaXr0hoqiuaWjtIAxOowyJHhuGDZsuOq2+S9Lg4CQrIcVg1LumPAaiUl8ZP25FqUwivqmVDht4NV+LiC8XLYgvQnWOTG72E+hjMHEW/rXmHpKm1Uj4kO8pGw7bhZ1q3EirA9xpqRfyjU9KlV79HqFvVJOPDgCIOsusQfK6hf+LG/o3ZoSpV2atayVnkUJVitQAXVwPNqSiUjG63PmvL6h6MmbXABD8Nyt005Q14mv6nc8tP58dmy6GhFCNd76hgwyNpSTdXkWImD5TU0OrW1NO0rcfHmGuGinXksaFm3xS9PBa/DDsYscANygP5TfBlXV9JdlFCGt0aEgupQXhyJfmz1PeZchMGKCyqHnbe/vbGAhoDbZE2+xcXMryOMwCjkapKQSWctcN2HM3kgZTle1wzexPFhqZVIdi3E18L3p2rGa3nhnrS7QsulUkxD8eONYLN4AyIcCMz/Lpmi49OJ1Yt6bQe0Uv8UpBNx71GSk4J7gPXXwM6jpttEb9ydNjlH96qgOjNqzAROMva7qnf07vnG+jR1nYKnfhu08LvwbalqT4lQSYFNd0jEjgvZ27pchuJURVMU1aJBvETEOAj4k1YmKKOm3rXO1Pfuc0Qfxf/Zjrp6eer5oRzRpN7SXLiB/cQNkAlrUBaxiguSrNgvopQzyLxo7GsASm5L9ewuJAttKD57lwWRvIX0kH3sWRoUDlfr5QrqN263yGAG9wy/F/IS7OaR16EluNIXYTiiU4rgUb993WWfd8Ax6G3TRtuSoLqKhU3urCfb7+tmC4KFInST6v3ci3mqSVcO8l/89Q5ks9e5GqXitAzS5TxAVFOMO/EeLS8AumRNrQ9LbZKBRgoIbygQj2+DujciGo7PKMpywIMSLlXV5yVpStlRons+2xt5RqQAmVlUTZtDgsUF8tVIQ4czvF2AmrXEH3RInZd6AZMP813mojGFCEzmp4+F0OGBr7Tw5iHo1haLlaXIRyJ4OukvyxnQy7+uLClZR/iIe3c4VNowxFRp6vWSDb2ChAovCZ0X286LPjaGbJ2MbDA145Y+uFLCrqoQ+MmZkP7KQJxLdwXltCjngcZtx69SObNgFhUzZYEqM/tPVNRaAHPDq3rCK6f9o00PnD93aho22663QWOcOykV+0OdAb8B9Gj7GW0rd4jC7V/bpxT47CkSCFexxfLIAxMZ1K0IkdE+Yp8VSW81dbns/uad0mVPRq4tp52AMnDbDbv9a20FJ2qW9qhOnU67Ue7zuRHeWpQ9uraynxoH/3jJHO0X6Z/Xi4yNAIB8frv0KQMKdKMdvr3tvDRwx1c91Vytj8pEmkybko92VJ8P3eQCobm7wEnj3EKNmFY+RnTUmmHgkOvwrngjXQI1YlRoY+XlwIaJEpcUMXz9xLRaOnmPm9pSBA7Vys6/FzoBC/91eC3ypJfphaMz0316rCoJ/2ZdbdfHWVs6jn8vZkqftU4jm/bbc+K+xLNldvC+/apqKvMJ82x2MqCxJEKdFNmx5KscfpUsrsXjNLQySGUDUnw6mCVnqhuUa8dcIH6JoPhKVB1pcS6Aj6/CykAz9lu9nkEb1qHmv4nnJZl34Pyw9D4w/lfF4mu0Nuqa20FzKPQn4BrsItrnk8hWjKOI745l0ltqv+X1hjd+uJN+PrDQdevJQ0O7Sx448tTL12DJ9YfWIsZJlJigRebrEhVuc2PoGtPgMEJaA/SSasuy7SCv/PW78LRlDOCbj4io8gSSdEhj8CjD8X1Qarxrb03M4Usbmk0Ylmm53/sb0U3jKPCou++yQ7MCvagpBIIJo2kwm7a8IhGkNXyPM/a/8Pgb2Qes0JHhyjWB4jhVFbpwIqlA1rWNqq7rMr1irIEHPIOPA/4go7UG+c/xjOv1b59XO5foX1NQ7wnm2gorqviveW1vrGMPWvQScgX+GVQlm/jA0Es7fZqVyzW/Q6Sc4wNpBLi2hN9LDbUHHgizVmyXhzRW8BGrbLT0MA1BV1ZEi9bFE3N/EG4/Zj5KkLATIJsnhr7CIBp01HHjiQFst3YOUsoO68xn3+Sli8KLJFuoVuPJQoTgOLPFto9ycVVwiK7/o2Qa7fudcFbk8ELjeu7KhXIE0LpzM/YhTByoMiGdOeh0o5OPzxVFrO4/Wk5sO+HO0YrJQfOG+przSH3l1UoNrexYLhi1LRAhfE7PPkE+sYAbZ/8XNW2IhG5DB8+MYcqetrzOSFDO+f3pL066uevNYW6tS5BEapFBE2jyT/L8i3e2Cnnx4WyGYiZRVAZl4fKf9uerFD+xEMeVcfnhTd1fnTz5sV+QCIZE5MNuVx9/TdH2k+WwdXyKzry6M8hehX4Zn+68t/WEouP8d7kvSc+pRF2dK3EKkRYpPdq6AtSclLIwNp2cUO1KxeUoVjAOEAnmhI/MmtCqzqHhHBJSFu/CfzYuVFnMjDU2OpBSmllm2EKh55bqCjUuXdoYdIHNIMYD80lmgBmVo73bub7seJ/DXNFAKGN02cU4QahyPXx8PdikScSS7csM4uhkp9g+jr9qDLFpBGdomAftD30/3w+whuGGQ9jMvbHf4L12oaTVw/E3YS1Z338c83ZguVZqdSzmaG+E1MeXU/FT71p5GylnDEyLThljAUIkfB9Zd+o28qMilDmPVROXYfJ1DKZPH+/kf521WdkR/u96iLjK2sTes5W/Vijr5KNj0DmgrJt4ok4y4DZPK5P+2hJAumtz+Ga3O7Uzti7IRJe4iR3BHkBVYDxhoQEFY5Tpw5PM+Elq4DOqpDU0irqC2C+Xl3Mz8YBz6jAqo4iDO6hmg1A8iIvh98lpK9NxPhV1ielJlm/DfktzuIYsHcNKMcf/sFxj58RWZJL/bEJbNjCs8ykXKSqRnDHaWURoyVflaENvKiE4v3xv5waRjU79NRabSJUvnq070o8JawQZVu67y91/yFB380VRiuYdebG+sO7OIRvUVyPV6kYClQ9D9zT7GSNZKb+QK3BHlq8swD9gW6I/pUq0NxCQgjCxugGUwIgQaKPwH3jKCuxpEzmYv7kR14VeGLqMdMQh7Bo+YEDR4uP6BYLJh4lAOS79vCge8P6+h5M2zrrfBfwNdOEjV6vwTcNS17rPVZrs04TPXXxU/wQC4Vac3DgI/xwliLFZJIFonyyw4aTQ224bLDpRWBvWUZ+xmSBxHMoOcHPSQzudU26lC0MHfoPpFClxKXkT2E+CDCHInfhxTgwIA1NamXLfLIkK3DWlm5frkxOaV+VOKxO9jNhhFIxKAoATommayVu701ShoTi99xqvNmF45+thwUnFTaq3mOKMdTa3bcY3amcnCFiGRjoUfgwy1/48R/3wUJ7hhqX6/sOZpdRXkIS44gxpA/wLYKjMjDnfNN82imCRLd7qAq7NKCC5qDDe50OKy0/DmowOt8/FED0Oq2hXrYbaZys968lXzkWAzPe6H+yLsTKYJ9qOUuaoCWQ755jr8j7RO76PRpYprLL1iuHT+SO7kbSt5PLcX7n9P4a53wglJhFMwSxflWjgqvl5yh6MRHiZWQGL+enZXAA9YPutImDzwTlWIS8QK9wmmEMsSlbrLgTyh7zU63EGzlqutx6S09r1nejq56Ro/u3JDzD/z7Z3gZxE1frhcQXwwcSzPfOFqmBcNxIKLXAVtBMbbDnhw4XeQQt1QZsWpdTsMzjljJgtJUpk4DddNHVOZmL1Top5SN3q0ak4dhIm8YG/+DnAckwakvwntMg9YGxs3UD13wTxr8J/N1yINyQpKykecaxtmrlwLfqaqqxBW0lhwA3lc3AEOTCuJ81EHnUNrKqANfakdsn5fRrZrEmhKGXi1sHBWDafeKPgy9403wvSB05Y1JM41H6AOlXUGGLgV/6WAVAVFtHxVrrH/aTKiPyjAaIWMSVZ+RIdhlZDMAbzg4Cmv/tpdHh1ohLfG4C0q4v12Tkl8gjahUrqTqBZFKGxB1JaEJqu6ZfQ/wDaQHvWZm079KZG1mmJYhkvirBdcPALWKMq2M9g8TWWek2aBNBARJlT5pbwb9TZx+FFooawN3Rb37LyvgHky6TQXuwMCAdDW0g2cfIrQbwdzjBbNAu969uAZZfp6Cx22WdWpVd3CfRRx0hSuHkYuQgMYgbtPXyxOEbXJQ7wry1YYLCtNPoQWJgLmIjU8hQWiRd0zg3rULJfwRxcKEW2tsf7WaupRkAQxfofT95+YI+4hPQ1JrhgCwJD/Ic1w4v0CXZJBXyrQuUQohryl2TLt3oWclNQ/cTa47Kbxt/LEVIbHXiveEKGpQoeLRLnZ8wfzw4zvg+CUrK9pe/90C0TrA+q2ZUtniV8S7TwLzm5OxkoLQY5BdXll4FxXRfLiHoBrbxpF0vPYDsPQcXachQ5ARsxvL6oHpNNucRAbn+R4/ad3CmRe+1vJ/Zp8EonjsMR8gaNXHa+Rha71pAul35ZwT1u2s3z9kIof6iiehF4uhRXZoE5MyunsqziYABdhbCrTRkA1DlAZfKJZi3uWRTjBxxLv1kv8h1UM56DkhDfbjF8z3SoUPK6E8IwsJVR8WGPR0tBctFWzA0ZXSjAyh5RRcSr9F/uyQknMaMuXMXanE6iifKckUnSTw8Kj0BJHIKAnOG1TuVgcQ8MuQfyrv3gDVKraO2fSbwdEd/9LyZHtOifNXMtzrAac5Gd9paaBJUWW4mp5QBE1J5TN69W03Uwfwv56hgSbsEmJaUT1DN+8JKhhrt1brSnrwTsLYe7nIGb+YjeBOof7tWVEhBCb2rGjAzxDkCGlMi3hEn8jw5k+kDPx49TfPX0iPGZU/2rFIUwX3gGtTY4Bw6kWaPLHzaC5uRV8xjNtt9/QYulj/yGKPc+GSAvhBUSt9Nupo+RDT9o4gcABZXoQGDWkwthPNP/gpY7rLMKeK7CZtSn1rlYcSZpMnF/nv/abFJWu5oKWYfDWbsrtLyKx7/Pd+ezSHVPyAYuDcpT2XZskQj+Sf5KFwhsV+2KZrRmjEoVXzXUvam/3xWszJ4vr8cxm9gZuXc9T/DS/x1AhdfSpNC9KknAh50eiZrQXmeKbv7/sWLGAJUshzOg0OuWE3YE3QvKiPdbc45ly5wUEr3LLPu6M7BVgRAhUdtFRZzPGDIjuW6Q6vEMeqdWOnb4hQ70f6Qrr/Xpm4Z93w9DLt7DJ1iXOQCc9UklMnUQhDMP8vSlkiKpfrp6QAyGLtOD5DC35ndXteHBPy9y/AmFSrprHQL1qffaDPaqORe0xXXMclEGMleOz+BQIF1qDyJX3ayvLpHVnJZBrYVtZ7gzYwGOYWnLEJJ3PvpU0emkdZ2wNULtLyvHnaStDHR8mFtTcj56VkUZEVrBF/fVw3BMJZkCdJgrsM3GuSN4Pnk5vduV53MipuG1EuzNRm5jbOluKn+N2ZHuHqeSz0uNXEwB+zSpUgmlOIhA2sD54RbpqC7CH6jC3Ka/n93Qe2XinU4R0Ta6phK8ISh7SQjOqmS7HLHbwenPXswL4kQaZS68wSaHFG0zJMPLaeXELMU/DYAC9uMSA5lVB6V+Skbov09c2awzvQmRsfySSGnOH8G6por8akGgVNLa8NvWZ2w1oWc29IpQZo7/DAwhqIUxUes5VClWLO9dKJACVOqicueke0sBDcxPvB6z1GRMCPL8moY8Yboi0QaftHtKNJK2k2F6Ar7/9OIwTuFPDgVkp5eVPPmqZnTr4BoN6Tocs1Abdv5Q4IvdujM27tJy81katZ1O/lj4NKvqROVnBP6e0ZgRnYmMhZZ43bnG+RdvqERmCIUC8X2ILOHX5G2f7Ml3QY3BAd8G8NI1IWy3U6CKhciZLDZ/DALTyzLbYWDbiNYS353/GVqJR8AkXQTVs78ijKOnLoWI1qA2O9AN6rh9CLLmocP3Gr2BNn14fwKQJA93xWOHNd92vwYmhNDdT+UFfgYDSmQLgzP6M+6lR6/hx9TUZaspucPmCaA28UMLSOSKwJTdVHoRewHNC/l8vodbZ0yhW7n4Gdkt/hWccmyJ7GuZeIETt5Hh9+WGesk3jJCUzR8zlMP5KzowprOmi/IEXkGcPkP5NeptS6LAS25xwUzuoTZWbfsUCHjqs5fo65uxblsD4lX9TttfcF7uSMBtfvAaJEq1fqNC1EBAmsd8gc4wexCCJ5imHrluS78Z4KVDxzy48YQKC0TU5oLhzedkaqK1g73SEvi96IqTQit32BuRbzNUYmzRUHHwZaz9BnBjAEnzLYYgpRvSyE27ssaYPMydapdCIRqDgmvwXtAm9U5/fDCGt1k+o+nmr1afcBcP5uuiqN5VmSAKataNs+ZTVRJ4lE+IPxlj40HAHrFvqQx6y/mDRNhZFW6gC6ZI+M3elvw/QaNf753By2nuI9/BxZUNfyeNHPGx1op2DoAv6TwkhhvngON4Sgx2Z5c2+R8cUREl+w/2sqyJ5uAyAgll90KQUN/UovuDAlXdbHYOs1ZH5VT4UwHvDFVd/uE40rgG3StT8BIItE9chuL91sUE6fxvhg4qkzj5cJJOV5TtgS+MM1WFsQbvZzM0W1kdcX8KmEgS/5d/RQTTX/jAmolDPekLCO6wsv1OTb0C9s7KCbhwzYshIlF9xHMU04jcke8K0uHWIs/ue+f1xyRhTLNUaXpMhdlbzZBZqH6ZsdPk47rl1l/wPONPUqqf9KCRgHdPIbO5vv904n0SfKQDsUrv7iojxFpMj4mBXOLe8BcUpZTWC8gDiHYFrnt75bQRevC3TwjxhheA1OqOCiGJM9kMzztPegQHucSm26z9nWfmdmBgcQDe3rS1uPfEYVT9jHlZJrocQEQgrE76SFyY9BkUOCgDNubu2vlSIHRsQSHfHPbhLI1MBtO6pscAZSZXZ4Ln9v3CW0HvYL8d4+ZI+YXx3njariKceBaYpZUTNTw0P0Eex+Z8B16ss4Y52dUrkHqpNN6F2u2R4nN4wOrlJp/ZDpfv4Pw+1jcTp8RrdKqf6GS3tPzN6V9yS0BkyowqsaSTZ6kr3Rurm3GSpGyvUxhPLJJZeQnPfw4U+AN3sAAbaBLmPXSm0dm7rlpCM+ljjI8y5O9HMVIZrnDPVwY5LnFf/mnL5AWieT49OyXkI9vWkAZs5u+wkNXYxOlD2CisoLhBKI0UNm+9HNsrykRxzi2uRkYlF/3yL/STU8TcD3IUrLdkZehaCkesNNitmKbPVGk9c5fxeB82CVHDdkG0MusO4r/i84DphdsxXgoY1YRcffrFiBYCcLlayZDEYQ/ZOFQp8f7r5c31zmPV1znYoj8lJJxUe4aXGXCOobF/XAkAC2t5DNGjmp/RszoPIkb1p4cxoffXt31Rt/NhE+xlxz/BlRbOjzBOBTAgxfmyBTlKaytiLMBaWOJcpEMtZLAtTkd2CrcDVRgDGjnktKureA3DJ44yDQCPhAAtgueN2rP+eXIUzlGUiZ24gpplLN+shAOe8sfJiFdoYhLYMyIlnegwW1xhu5CquTwIdjpRav00VwkJd3Sek7mojYgALNkmo7vu+gIh/Bqn2vKMsLIlmAVyhJIVteaz4HH+VNNeoAl+4+QfljdhFYXv/RWZdE1fGWYpx155Fo3GGx1/Tlo4brqx3LhB1D2nWBPsUoXxbA9nrvmIKeWXy7abu6nWx55I0lfYXYt6Qt5lN1/DqZuzPuUEeBj+qnMQ4vgta/UrwCY8YQtZGr4piUIozPmjz+hvYRgAvAub+LZYm/OeslgyfB6pxJbHWZEOurMx2Oy7oL4QT6SPNrQMy6AYmeuQGsN13XwntpvpeOlP53uaYcRJP1CiuuT+hag79pNEl12Jyyzut5Kbhl3EkDsNIODyDulZQYh30rAlpglJcBrBbMO/lC8g8sOqOZn9knY67m/UpM3lai8dpm7dd1lQ3EOgDZP2rNkYgw5AxKtdpo6TQy478TOZmO6P7h8MGXjwdpEHNVpqGZmJbYDf7v7qRH68lVgcVLT0Ky0L2nDDZCUEaaPkuLLdrLZmd/eeAUsHJVFoPeyn8BFFh6AB/s/p3PFFjF89Ucy4qQ/st0F0xJO0iTjMuEZc83TSn2lA83JePp3F2TgxqTIqiyb5cw3VEb37IrkO7zhf+AoBHhl+DTRKmVlNMdXBTTfsSd3OuE8NkQ9xon0x0zv2IPwq76LYZAaUU5O7XnbkRxPpQumdwWohJmK8om5nPNXRYB1LSqnggHIDHAdnTPcsz4PVNpfB0ROEHU6teqN1+zH4JILSYFhGaToe3ah5OQYRysspEPbtT6tpJ35sNjH67tuAfh632F5lxJGSBBKd/rY99DLomGbMeUSKpDVNEbOSvJJDAI+dA9/ZaHamfe3Z1apdwo31PYvE3J3bY6m1YllUFhaC4PSbQ1UG66Rlw8ydMM6zfDLIRrTMDu3frg4YpXXckBzd8n71VmfTmTXkyfqZ4LqkQvN4WY/dKvLo5c+1nZ0Ddf+/SkKC8HKjhc2jzxVX+KmmApCiInZEhu+hNgyexys4m/RzOS6QCWLx9diHNOWg2pyW9gF/9es+yuAtsTmb9PMcUAIOmH+vCMSEJEMlV878DD55mqGbC+8DPrEScZTqvO3VvQ1urhCdye3tpMGZmtcstaBP2dgKPJmIiKkP4Q5poM0iim2cyVtm+CbWUFl8i/4q5aAcZr0mfIe4p0/+G8e09tY6Xh0ZOetLSiBiN5Bp7tQeX2ltdIeae/ATLQ+21hJzwyE666jDt/coNFdo5szBXrlPTB2tFMBztczwTyQ03mLS0YOrA2VVOKQJLrWQtuV+Axrr2aciL8A8U/yus2jFyQlgiUGRZa3iFIuEjqoAS3Q1PA5jaS11ID5Bx7tPfGPVD0xsU+GO/s4Ph/IJwT65TalQ73zotA42X3krMeNnGOXAXhHtR8Ovd/sMsEkrzyi58RLubk/wYvRKzqT9Yt84/3g5pDhYF04dXyNgKsTZGPshNK0dFT8JItvnlzcSMEymnP/PEO08NyYwOiE26R0Blojseb41L5807sCG5k16tfvei5dKTaTBTnXRHfX3A7ZxGvlYqBhOMyQ10NZw8o21juEloiaUAAE0sJ629geOhv8ka9fmo0xaFN0UmGP8mM1f1gAQUzWyJt9GSYX0D4G1aTNmmliVKDCTi67al+HfKeipFEtYG/uTZzSs55RMLJrKRbR1hmWGMet4k45TUAy3Pd4yiP8DduLQIanqU6Zvb2iDz0zlGaiwJSxKc3m+n/yvjHMvTHIJhz8Kk5G3avsyv6oQJqgQ9U5H9ArvklTDxzgTdhIbE/KPDbfflkSFS6TbVcRmfAvG2DBO8ob7z+7HAgh/F5KdqPYBWoTiNwobU1jQOGjPKOBGg9Rne4ZsaxgknjV94UjSeA4W72YUqguI0qtpki4+pCevBG2Ge6WoD/eBeRaB6R28VUPpJsNaodHCo/i1KYZinyG0CyGXDyQpjgYCxKqpwk0uppLunnb5yWp5m9FSUHeWgZp2gvfoEVafiS+7u12fP1tdqKqRkIFwVu2BqQ8UPWC67v5tP6SdHMiTB5EWOFQHxMLTP3rbMB6TLO9lccfXaDBN5lgMcLSbuODMQjmc9YNjCXvurtd5AG17jYx5y76tFrHDhho8WBBzhU9KOBWWmakOClQJG9Z17A3SHhThG7Wg2dU1Rpq7bn5Sk2zNF0o4w1NRrAELwiYDTLAdjFUPS2ORdsgn/RzwinGcQq6tsPWpAXZN3hVqPFeBEOe84rsAnZMyyKwI9qbk9K/TR6pDK0pcBq9MRi8OxBz2nxfLnc7kF94C2olXIsIy9Nmv0AFfyLX1Cf4RWyw7kCaotTJ4IHuvwxKJEGYkXt8R21XpTjbJWK3i14w0h9pGLDtvIMIe2Okkao5ldrY9t82AUV+fWJ4Od+VOsPPL3YDHppE2QnS+qx559HFOaGoTiBOw2D/Iv8SjZa3KyskSL4LV54vegPcTwKfQr2UiniO5C2b580ZQ/MLU8+EEUN4QVwL0sfZ448gOIanG46Vrbn+On9hrjRHfBAXfFUghxQtKV34CoiMJ8u3iqoKebb0SphffC+rQfioEU0A2OzMZpdVJwsy7ciqraq5mhAXs7swu8HaCzQp8fGDFQgRaYF7bAzQUCQqzzLncSkst1x6CgiNQbmKkV0DuYu4UDcmE9ttcKw9oKcYjEzPTjZQpA1la2WUDdRZ8gB5kHi+1F+gGyHnveS1sQ7S3HMfS3o5LVtl5u+MN7Y6JXWwnbDCKShs8hc8IAH6ElzdNze8XAf2PPJMdjxXYmjbW7qEkxOvN6X1Nw3hISNRZ+uVlmWKAWT/+GjhiWY4sBCN3ENj6IzRzis92vmfQfomB5j6Dy3etg4hurPD41eR3uQg7ktfGntLiYbpuPuOBT39cJiU1QTquOXGlCXeozf/czMWdf/turL3+wOIvcR0RfPYa9lqNSP7WUdEvEJKqjiq/3NW1XXoVytk9fSweXzz9duIftqnoXm4pJaM9yGvLyRTWhDYpetesbHDKcZcw57kc/lGsa9pq5bMcnbsVBM2Hh4lgHkHSUMCbKGc/bOlYWtof9MAC2z4tAzASbnR19zZBc4Z0AXCljJlnD3/wMLv3Zx6f5geMjo6H9B9S8DebcAlqQZ8O5v8AV/hhDQW6FxhvSsYWQmk9m+PHvKLrtPKuN4w7ZqfU8OmfNpKHUwlDUlqPguIgu4EG81yPX4b2mSNj5lN3AVLUMnEzbgIbuQkifAMV2DTbUfI45afgaOysSV4xtumrnMFouKbmZPdkzw/1o8tkbfruPIl51fzM26uyDim+pLx/KMD2ahT4jZhK+nRlmpyJdnGP2hxlgXuziad8Dskm+FkyRYw3rreVIYS3OTDPWWKmaEIM1pE0IrK7AVT/rXoZ9tp+Ctq3/LjMyodQuj3PJh2i8qiQQVU+1MiNqnEOaYL0MzYYQmDwe4aK/e6SI1d4eUzr+CG2f6nS8UWeYJDjqVsY2RIqNmSmMKcHyiHweABUdSABlfUBUe5+LloGxY+zg1XKN6x8DeXapFhisCWsLaOHAPfvykwE6sjLIl1neH4Iau78+nvahpkSGJ+nZbpoJY8e4iZKFVwIAoAxuw47xYQiwr54XP2Jq8PyXv8rAMytuds0u6c/loyr6bNbgoc8UBYPmww0uHXgcBv85UrUppNW8f3Jc52V809RZddACPVaF0I/ekB69NqJfocPL7te2JeAJyYcuySozayFzXWHc5wLJlyCoiMJQYMtvE+D6I+D1cCOs6euSdSUTqq/VCpqQ9HNBUHU3+i1cQBg9KO6BjadIuLwXdLAEk23q4Fuy3W1Wv1K9UEnK1VgsG8eSCCuVZSizbxkLNns9o4Lww82fTpMTv4zLxiMvi4vxq5X7ZpfPQRr3pY5VbSr0jItlVqmrKeaZSL5fRPI7F2AOJtlui9td1d4U91cWfs1gl/dze01L7y0zPz30Zu5jQo6yOK8oNL5DrrPuHvhqu/KsAVcFRE/GdqND6Y0L1Th1IqAdlMk0o4daw9LvEz5xs5jscwxRTasQLOQ/hFlIumSa8GDlWv1W0adMJXNy+ZLHRrCCi3J1AOanUMdaQU02PeUBDhH+tfJVv3cpSvA/4fAbh/qkPD6lTvOxoQSJfffioEu8zA5rqR+yJlh1QsaNtsM+Z0jhXuWRa6xIqBeQCgggevxnhlsYKfMGo141PmmsVGFJ+qcmbRbzioWPhA3d7Pq2xv7+KcAx2mHwr5EFGWRRxOrPk9PLoR8vyfqrytjXQ38Lm6b+QTBOxf3SFdrNWVFE/F67L+Dib9hxCYXskghGwH7i0b6jLPsq8wJKR32nwzDGMrI7p1c2wa5CL3cLXSBVwnQoL4X1BnCjCd3OtzpYkKoJKVGTQ0jLer2mA9wA4xvTf2krQjg0HPwkkGU5MR8BmtvVEl1Vj43lH1FQgtE+6q1/DeMhFigbh5K/oGIxYbAQioSsx6AXgGXCLgJiMsgdNIL+jvkVuom63OqzzL3ufycbyfJGs9hsr5bHZ+0qXy3iQHL6LkDSbwbAKzCSETEAJWaJn6heVn1wCb4yrskAFF/oDiWemV9BFZgg5ayfJ97zzbTPmuh9qSZBC19RDYor/BiIjaosEidq+QFfZIE8EHthIhXn/GuT25ShQt3/Z+0imd3vFgTphFHr+BQ9+IjNLX74gZ94Yff2Q+t0xJoB/eRb5okQkfNhKPrDy27hR2zXYxQp3aKVUyuuYZjfnqEIP3Gi/t3ZrB7HYHssN6vHqA2OCHqGgfDwVK/QtPW7+U1wMQHbaA8tC21Z9Nm3OAz2ulhPqeCOwdb6wF5IcsNBeT0C7v0ZHLvtxqptPZFnobO51qYvv1HuJZ54Kwq0Mi9/4kQR59iCzq+Rb5rZcRHc5hznpPheTwH8Nl0OZl3qqsA9ZpJ1xZ2zSz5s3FMjfAU4xtvS8sUV8ZBn5SixZ4cmI9vcNcA3yQHuEZJgrBNBFFSkOkCBjR+lFwJ6pv24l0N9eespEVrswYRdpr+Abw7NJPG7nft2HWuTqnsJctOraKg1SaGzrwI/A6KODKlvS4P4SQkDX0fjDHSLuBEbQSUnzbYRlXGjWtwmMClkZQZ7RZAA0dY1Sxd3Adp9KyFVZ2rxVGuGsDbtiC+IoUc15ticqQjElQdoBXQH+CZ3MLQl5LcEqgevFwLFPgHgS7dasVhRlqJzB/oxUG1s8m3/zgEd5MF7GKkr2POUIKba+1W2oIUyi0ofZhIjKu/3+sqVuTXmQIbLFNWfXhndU1OHTy9J2u75dVaQ3f75h3BhkBuWnYKHge9XeViXH3r45qGuoUnrZa5Oyxpsd+wtEdKF1ftSgAoCoU+gq5ANzkX111QZjC1f6O4GWP4iaRd9fruJCf+jXxeJZszhQXRalMGZAGt91zwm2Pj7mQRRpslsFAKOjlZPXeA/IsyScT8cAn7I/muswnu5UsEG3qM/N3Qgdci54ttF4ZInCYn4i6PZEpiK5YqpGzUmGjCZmHz98ugqv38AGSpjDXDEJFMiIE1VmdAd2gZMPUKGsPzcZbl751aofnjSSgFUu3VE6ij60W0zH57TQ4pKeTvowrlA4lArAkneM2gE/sM69fQDJDcDU3YKoiANcODOqcAdeIur6/UUQR+Dqpqq6gVPd5Jd1R8HjXthS9UpO8EAQqgv8x9O/NZjqWlvhVs18iwg6RP7xULpXgJpfaeWn6D/nsgd57m49T1ApClkcMLPko4HXriCfuJ6xRVdqtEGUPEVsJHPo3h9/JVxDE9suVqcw98fyAWybhISayCls19Eev4M/BpcXUyI7DkDcsD/jpvaJv/K4gQzlQiys2um3a/YeAIqIzvav79ittqwZeGgLLhppS8zImytnRiruQimUly5y+jT9DjGcfi9AlSt7YTDHEt54YirprssRpfsmc1s6RMJ/LdjDZbQaUfEwVyHTGhA5se5teuIyGbnbOLYlGZ/wuONBS9VB/W6+2z3vlf/USEP8cUTJsebyfTPttkF+NToIE/NXk0eGTDT/Xe7XRLppd/z/zPwmh5HVeFHOJG83rGBTF/Fzn2Wfyh91Ze/OTtvjsmbBrsZhdF9l12smpVvmRQx7akWA1+e41/VsRmTXaxUnWct2SXkgRvRBGGvnHStZMbnCf/y9AKPUBMMYBydViONu+6TNCW2Xg1AMlSzfsSZirhA7ZYGtez/tsWUL3H6KmYRmIqfXQL1s7v1f+w93IPPcIGh9ITG2TQU0OcoaSqGJb9UgjeY5XUS4uqs2PsGzUptsBZXLzzYG9uXMI+MDoeGi/w1GKAiPkDfZtTAl+I1JqAGOaNWN0hKQOeLMbA0Uv2jE6cdsG7K3gjSS8RhLBaUQoBBEzmuQB9S3SS8l8LAyeclP7a84GNWx3xdx/hIfKXFvNjZkX+jPjhGejcf2hdBA+M22zDtmtmqxzjWlIA/cGBpjwaQ3zZf37OgYQXHeUV//k5AtvzxtzfbiSIzgSGY+XHCJQKWwwQMjoW51JBNSXBzwXXdXSg95tSS35PI/hP9YEYULtL2HUHBDMx231wIwsCgMOO1zPjQv3Pcmx/9t0L8j2HJ+M32tMevxeLT+ACfS9oIY717TXTlqo+bULY7nXli4WgBkFihw4ZpPhdj4iH0RgoddsPi/KGw2/YU1icM8j4VkzhwJz0b2CMd3xtsTl7pQO2V1qssL/cHjaehutAb6zfvYT/vAYdJ0lCq47+8naoTzz02VeVxiNE8YcfcL2kHSAAAQRt1qeklkRTLWuCJNdC8yj9Etiu6oyCb7zAiNNE+Ybyaz7EP9PA8ustHc44N7ZRINS8xGpfzePKpn8WtJWynQrQyS1KU7PHQo8P89jeBghg694yG8xBjc2LT2fz6LldsUFn7Bu29Tm3bxqM7/CNzj2vmNIF5VMdcWFcGIWGVt0wcjI0VpbxPv+ouQsJXw9xbs4Iz5KKbLrnPrqxxtP4V8lOm24qM/WUmlP/5OczVxgSnQtQbA0EerFgVJpWIPqvVsKaont9sMNUbBvcm9xzrGapy3ZAUGjsALiZNyRRSs6Jr7Zd26Q/5zBGfjR5qLyyoJN21gOZymELZhP7wTO0NC8+rjL6kV/vMJADU57SlbSJ66ECQ19fZ6pu8bJayBGZtVQ9w9b5N5LUl0B4ul0MBwz0zrvGT1tNwXSyGLadVPESdhGSvnjwYHqdPOtRPvdRZKJEsTx8Eq7ZsD+bcvVd2EfTOlAv9NktEOu7ISCVpscAL8IQ2B1fie7c+Sam66qRyNu5lp7PlyOX1+KAkGmjBiW1c3dq6YLa0RYOwnKF/PIpNMudy0ly1vh8YDFTQ2QBv1zc0FM3u6CR5ixh9VAC1bFzpfVKaJIrPnOOroQliPFJUZfP186KbpON0qjTJvWEMpu9xvRK0VcR8D40qgeUKqvDudOZ52IRGEhOwLOmLwwPi+CBWTRqlxIpwgKHcWbrKhbIBEMLrubnzhhA/NT9ubxzirdHlpADeH9lL78og2C7u3YrEJWtqPJFpuYfbi4Euc57Z/i/4VMmAC1zUbqof/e0jpHpkpwANtqV9lgIIisIMC/cqONB+dviG0+y/DJVD/WbziM8Yl4BJ7Kfqw7U+61CpJx1usXMk9iwyNVIevGguOTihGXW55Lox0HCGQjj0MT+KZdg50RjL3e2o71UnflUYELHQ/r8AYfyVHHlbh3eWRKWXlGwPPclhNBnyTuNGp0aIQa2twbfEINfn33xm6/5mCsOU0jXCq4nxV9I0xmcuWx8sdWG6aOhlJUbouX5pbJe51FrrhpJkPKdpvf8S0UwZYdAlb7TgEwvFHAp5IU7x+xwfWC+i0CH5sHgdRjixyTOI/oyzBjGP/JzqOfsRJjXnkbnJIftY/ErfADAVXUFAS9v6aP6JnpBIgMTEdv5G0mDmPZfcEHYFzNqle136J42SsZXGVK01/N00aq6uWPFxVudY5BYAnG/IeRO30jkoWuN3w3EaxisyKw2tSoE96wpd8RaDK0JxnCrvxKskJExid3Cin3xFcK1XZ07FDJFd9UuCahRYMId6nwD4yIMF3hihjrf6uqS1SEzznQfN6VbG9Y434+BtDk2XOLWHLkugl6GsMX6ZE2NX0xSex+RJJeLjO8uVwyWFf3KMauHbcNDxwc6BV4JBE4zmnLRTkCOKeZEkFQRJKTdH1vrtKuGdrPsGo+jC6nDChfK/LoHKkjRMUU2G3TvV2auwNcfyggklMepokDm0Ek0Jwf1zkrvuKQlYYzxrvjeUHglZ8WwAoBmv2S64DRCUNyrr+ZWrSca+xqqVzOUEZT3pZlfKPyVkQCLp9caaxkH4h9qWRKeHHyJMi0Fr2rpfN4Ua8orPzkw36yOyydxn18/s+Z4wbJQ6dicEOvvXWCF/JcIG19uwL5Zyq0C7OHp/Uapo28Wsz2HNmwAa2Hvl3EKTHqCQWoMINmkRDlMyZWlSttMMz1dSamwf2qnMDLYaV1T61HHk4DKDnUt+fUXZBLHOu/j3p3iIajCdaRB1oAI5KCmx9H+jF+MHKtYBYQdury8PReT2Gocpees2h8aaMx9FVvc87/jH4Vpbk8ee9cZHJoPTG9cqPxMCPxD2sirweQf23ggKz1R7daUYSDxgRCZ/v/rrkTO9NSKEDoCE1KJJpvEtiFsRno6flc1gda0vs2DCpNOaHSMsecVydfL/O6HBYwdpOoCgMM2haJM0ke1aWWnP3LhhXcr8i0lmhs3VAI0Cr1S0MBv30hQY/g1MKVSEpJOy0sged6i0wru2zfX+g2eJaVdDwAmJouW0k1PkDwRUM5TSCl/dEZ2fbUaLUqcfpbqMg2bgd7Dnuw6xuoGMWENKScBRWD0aQUI/iYvFcG/el83tB//5gfUZlbyTFeY9axfqy7VfCQuQHJQmIjDm9JN2X3mUuZ3iyNjneYeYODF7AbL5xldSXuCT+m/E9+xSy2p0OnKjzIPa5t2R27ztBBsJIThmVo3+Dg6jOWAf9fQ2Ohwk+ynt1lTey52UBcS6HdTzj9+Ps8pbNJciMT4H+4Bn60BSO5YYIKhIVWNSd0V3upFRzK9ftCb6TdydSpthCXCTaPlgszSkcmRcIILnzwv5BevcXfk5w+iNyGzfOjmEFQdPbbXxGPplCRhQf5XNMgqcPp6soIcKtBVCqxQ3V+F17DCFuhUvWdXPwvG5Xz6VJ3A5nkJxgf8S+6f9P+hbDVDihNgWVfw+XyZlFWGNrDgN0QqUago1Wat0UEVEBtlhLx0WsECRbBf9kmBJhOodSaSx7xtwkbX6UrnjDJZJtng6gnJHVO3KvpxTWQiCH0eV/C32AxaBugOv0Vu6ohHiuI0gISFLf3Wb7vzwlTg0NFFYt7d32RfWn+98yqjKiAIqajOpurlDX5o2TVJewr5UyMf3/8cdP9Kkck9jJzK7YO8+M0C9/+hmiMjPD8vzhWK9QU/rNgbItuH/PCkja6WDSpl0nbLOZFBOOv1EpiV2I7Gm/QrTmkvQxHhKcJ/gTUqFzya09bGQNmmfOwDaaf2XbVWldKvigVfXTjOSlaYgjczdcw0pb4tztlWNvtSP1l9MEgoUJxKqu8Liz6imajXCl4rIAGJ1038ObjV/f5PHyG+5pyIvfVtsYtUoCt3QAS1CucMA/a2xyTPFbQg+1CMlgd/Q7UJFgP/YYtbfhtu4NAc0W7/SYYAS4brFyecMo0Db73S/K8pgqm72edlr6F/SaqPprpT4GAoQq82Mi1oTQBbr8HzkpQ9AZUCMNle3viQCUVJgTVsRbrYRo78w26lQYNx2PjX00DBt3LJXCfyVVQPoxoZ5gQI/nsT9WpmNlQu4PVdu7Nwf7AskC56UZNIeDnqaa7eumKlQ7OwzQ0Z9UBHiEwgK9I0vOuNjZvdT+VqjI4jvKgRG82TE2hRErVxN7luN2W3HLtdlbhjFb4CXI+8foahVGNi6ISpQ3rjGvQB48MA9ppsRs1DJ9Crmk/fgzN8NCD4WN7aqDNNOvqqBz4WY1buBG+7/rHUBkfk6GUvi56A4JrpysTRNW7TCnuJ8f8d1WS7z+kDh0FoaR+QO+Dikl2QaDvjIZuuWhVm5LfLzddpEQqualsXWq+te66sybs7sb0Lzug/RUlFY/A1cmcJdsSL/p0Itzzlk6UcA3vMHBR5GqAzkexKMRl2h0wRXNf5erFnuhCGYLvbHgdNtKrZYxTVAEGHACOxlI0OVkzh77aGb5gKaLsLZpSbI9WYHi3tcr2+8Ud+MpdTyKxq3RtCwwcgF4cMq4tj5YCiRFbCrG4IEF/uGursOX6MDVfwcjU5qxTYlix69uVsEKTCW/A/Z7IePRVD+nmkaASV+W4384SCdbtHk1Q/wrj9m6XHM6P1VWnoUjXIdkUJpLcI5Mzt+6JYEVxBjiudYzzIGXOC280eq61mmnmVp6WLLZ/pkwUfnUZnUjhiDnYts+xqIgEuI/v+y7ipUuJKH5UkzxCAoewaNLvDp/boFiFCu8iM51zDvPgC0j/1dJrWfT/fnYZ3Ly6AKIHKujvvFXGdyrCH8EC5vgN4NSdw4ckXkSbNFe+r8TAdghZhPQua5fo7vMZzYsJPYNd9d4Llqfoj2Iks+rYtxB8QXRgRbVq6mHMDX7gctUdUaSOifZcMqD74ThfSxfYQ+wTa81q1We0PRWdapmVawTWdfbzuLt9Qx2OqCL4QT6VYFxrOEDMkhPlxTt1jIfP2+nazPmZJb3jcWZjfFfL0aYTVuSawQoPnAvxopjQzrNVwfeTk4jLWb0Xf1FG3qhhQbNWxsn45j0H9+UJk7hfLQkgRyw6MJ3MIJ0RVG3QBW/agminTEG/GPy1Kq0mpNQvsHxzG4mOs5DTrTzX413zwyjTZDGqAHNAzh0pBN3kYsWo8DRw3lTLjBZ2TYmnKqxYpyUMABmAX9nj1cKfvlHx7/PiTskb+VVHryvWsqWoJ5Ykh4f5m4z706ImYkOnWxEiVlqhKRBXI1nTv8zwPTKgCaC06IHJlTLHYTXU8LB9R4vDO4iuUoPAEhLaQEZ827YbQlCLJzT3RhHj0aozJ1ufFWQt4FHsOILtAPdzXenuBkxEGVpI0pYL2wKWyVhv2iWrSSWFVm5udep+9tzKPhYqAbsCAWWvvovMCM1sFDta1iKgOXEcWpsyOxxOhf7GqLdJNabmPuKEPFya4IDOgYMZW4A8qPzEFEAzYBBCTIeBE3vu1HH06eVyawjVrRYtTD8m+4zqgssoRxY4O2gBr73Oepc/QZG4Q2k6bvPUM8ZVfl6XYijTG+KGgyvCT2u7K8psa7exLSkm2nu7buAhWdzmm/dxk5Zm0OFlu3ZIW/QPLxVTvRMlm/HS0CWeG0+FjH2GdawdXn9t8srVcONFOkWjyrDi6GQd1d9Y1QOIbrADwHNQ6tdlYt8S40Hu0k8aStrFRNNAlXV+Z8L/OEjXfQv2sPudGgE4suVSp0NhjYiwxEStiieGNHshriap51+3AQ6FHd5gqcQIiJS8vXWse9ijrPIDOcrd+2lsMvzvw3vuqT9pfQ3ja4/aGN437QRs/kKyIkF9CuTPyovOsH8YGYD/B2mcYTs9fDnTxx1MO3KngO/BcHe6FKPxjFtmUkVjiN4nv1DNZnbgtqiJr8Kac5M0z1umeIqpXoFg1hxG+cdm4z+YWfOYOxIK6oXddPqxvzFO+8/NmFVKz1J5NATIOYpRFsY7Dfosb5YKfPJg5/s0iOdnwdHpsaG1aO/KCFWkMPXnetHp3pV4Ru4dFR7wOJZhMy2ayTxw1Ae3A/+jVf4NDbupJjdaaTp1rsh0NCr+wHYKm0yW7pk6lZWPeOPZIeChgcvx7Wj9WNjyyvkcivTEw0iJOhE0XW+41+mlM5+uBJ+Mza1Qu63HDSG4SRVooCy2MaU0lnQXfyjdtCGpiDtHZt8sBxI/EQpbIvzM8rxwpq7OGxDrfKqkU37Efz2oAxQAGF/Ghsgmt4O1iHdvTM9NzAgl+R9LlOxutBW92ZaJpLXb10Y0l1yUtz3oXr1ft26TTq29dhSf8Q/u3IdykTulvDXlU0l9Xi/viFa5XzNlp3pSSI+L9I4+FQ8NVivudYtoj8LSb8FpAsJjEz9JlyT5AZa9G6Z+bDG+IvvnhsVTdCNTMFBT8OcNKk5f/14t666+gwPhg3WhmbMAaYlDrjSrGUcUdUD78vFZ+ol4HMt1OoMvzf+oj1G33eY3uIXV65iwzJ4KZg7/CZsXU2/PNbk3lX98oXxYAChQ51Du4YdO1aYW4718XRyhCuFTDZwzDQXBmdyLTPdAF9k68bFttX3vaHcPDSTjTRNfWqsfcfuGeR/fjJPYV2jf3xWkRQem2w5fJFSLr6igYNa2aBG4lk3Xe8aWNelTFhIC+HPJcYh3b0FfdWA5sNs6Zj6p3W4j6lCVH3t5g4UK5wkG6CLxu9dmmUQKDtFcg2P1nEGRL4WWq4Gc4k/4nYUKlccwOblKQGQqC21UJyYWX9vHs5xqcdJ195NmZydvKTJSB9WrAX8oEnjq2624oyH3GMpaggYf3pImkAnpNdQqRn6WP2cQm9tPjgYW/k7fzUTM/lwmq+/qkr/Dooy2Bwp0NZb/b9peLYBIggpe+ZMTqg33fM+wKO3NJpYMzDUDt+I3mKuY4WXWV8fpYmHonGdtHz1wX424Ruefe6FrGDIl4KGK01/qGwkXKbTJRlJJ2y1G6PS5XzIhchV+TY0630sEFCuVcQwRp/3RuBJ7Tek1/h+NPSFJZ860ce2918N28C1IJLG26HlcMEkYtGMVqicj/LNIqf6/Dra6CPl6OYDmuzUL3AXaGAtsVaduNV+fdwXgaRbGMDCrUcyiG/xQ2FZHK4/5GPffeWjLkQocffwY5fFqYMx4g8a62dXk8SO9ibIDlfuHPJpEFGuW3mXUbTVy7G/CThRtDqS6awt4ktjGZ+k0m69vFF76C0uXF/V7w2TYamx882EwEo+nLGi5SlQoMRg4iV6AnGAvIa3ctIW7Xmknpl1lV9MjTcZz5f00MQhJ2g1G7EBkJVfPBlnoGsLFG4gvp4tYCFsvu2ApWegrf6BFaZalx/kS0zm508FerA2xNaHo+6q0TgL1Ghkl+Bhffr3E1VF+pPuA395wb3kx/lzQFJczaVHeDi9ZD3Lu3TmQwTGy+KZgiwFw9hv6O63oLbBBb8aUiIscySfhhgDfI3kKJfcoMuvYiQHAOhT7souqzLTbnNro6L/dOFQiBvSZZFXQn1F0R4ZDMVP0H7SG3hkv8da1BC65mpEOdGHnsqd77NoQInM5p4oc/Iubog4NQEssOc58UjhfwOhVx1zo0VrwHmqemkslDJ6Rez0wNvTUlhB1euQWCKSofiJ7yMvA+eNeEiUKcOBQrMZpK5RFGnxwXviqyYowHAYmW7wu9sYz87BsUmCPoWWUkjF8Z80mFwknCP+Tx8ZaM5vVeaRc8E2p/qqt5ZadjxWLU5WniGO50MaJiXitr/fg46qNUBX45QJHFZYYCm6T/HwJRiBbQ3z926TyvPNk4ttFJouWrw5kwR3TgMYsZ3rgSA3It94lY11HYwmxhsG78kQ8lwkyvMEmEev+16Utk4VFn91ihq5zBSWFNVHmtTwPKLwDR/ztX/wI62J21OwErQ1a9pvDTM/TwRVufmtUjXWLwgIwf7m3q5X18x73QkSXZmKAfGbhvD/nHUr4zLllQ5SKTGpeoe/R2Qb+qj0Hcibdj/F+bCA8X1wQ68pmRMDUUKgHhMv53cL1C1fNnkwHcl6/0NoFSJt+aeM7dAHvf8U3qk06tgzNXZ1im5oI15kDkHHqqcbgYg4YFo7sBTYzbxgpw12bKqcEpqReNOuo7k6jH7fL7mgwqrOYW85cjbRNG0tCddg9o/+e9t4fbA5c4I4O4C68uBCvMfItA6ZafRwWMmNpx+RcL3WK8n6jWhsYEZgmpr5gb0f7uxhZTUu6tE9Fno1bHfMgKjfLhvlxgKvsWhjiuomVH+XLw9sy8vfm63TcUx+Jc8aYtqg0pv7J18A4NOq9M2c8278voSlxAmWpD6MXD5FzIksX31zFhlq+WqgfaHNFE35MgwcKjRG135I8okS3PYf24tXvHDhNRk2pdjey/D8uL1NMy3AnYqPQX4QyU49rFB2BHT9vxb6WrFUZTxirhZnAX1h0tb20F0vjLzQtc+R04IgSqPKRHnXrQYhSr+B0fFBWwkHZm4SLTiHgnhImXwphvvdpEzBRBO004X5y8KaVYsz8wzyzYcO3rpjhPn1CcxzcGF//gTmRe4kXK2xKaCYe4JyduvnNBNvm9oTtwAZj1xdUkITWPs3Qkpmjw/fHWMX64T9onIJl/B86rIb5G3028D49ENrCUmvZ1YP7OcU24h+AJ+uzCe+rfJ31vwyM1NxVqzQRZrRJqY3sFu3JqA4iOr2daG24JdKtj6QqJiMbiZw358usfzvGwHcvBkreWFni1GEYSvW0oiWC00UHu7sjtFY3O0Uu+lXF/VTjIbAjm/87V/Ca2yDcN7UK8Vj++JUOoOA+EjkX7H5fmC0w84c4n6zihCjLzKdZF30oT/MXQWu6soqAzZGHZvdHYFjfGWoNJEp0vtVMEptN4o9WR97bZDNKXAaMQs6jel/Wk5B//SHqqyHNAdFqNLJP5y+o3OSwJEqhFC6udqxnA1fxrvKFAYhUWzyAaDnz3al600h3Yn2j8mjgCPiOZV7SpUk3w4W/zj8YfQNzLEpBuiRh3x3JZQDjtpVQUP0VIVAo1j/205Q/v4CqRMPPOMXO3CZPmXXo3nZljCSPZGLhGLeq5uBsFTMtiUTYC+E05/14vAvDWn224rT9c4TqbyjRqaqcKTe9duMGv68YImbuYmhzJN0s9Te9u0tF7zWukQpyRqy7hqmdgMmdValj8G18/xf6Lyay7nLGeDEPrU/9PVOjOvC8cfV5WZGxHi1ZrFze51tz1QaGuWTUTebrLT3Me930bYpK0hFUxqe0/jXebtxtj+e43IIedE+XQ5UCn8U7k5w7HboPZ7IXU+89tuRR3c9CPc7+2e+S0BI0wO/tnGCdqJnEpgOQZPt/K+M9mpT83tsCcMmAMIGijnZyW2d+x1d921jEL5vwKo1tkx5W48e6TH1rFVpyCw6GNVf0v76vbhrkaEq8w6v3EE2iaGynSFiDsGFyYHIK5X4F3MlCK80moYidFUqYmOJKk4Uvm14NV+6J+A1jHdS28vvSwSLSIGFyxjIRcsRIU1mM6dE2Sf21697lF1l5DRu0sKKBuPGTKu/73i5A7jEEz1So3JCDNaXJ7HO9CaxOSZSERdX+/dwxkTPVBDRYQIC9wfzhlemKV0nxynDNVUBeH/YmdsnN0DPknKOq0wkb+95ACCKWA2Zq+9dqf0MLAMrWESE2fHgX73WJ0sPSGzxDYw0MiB7TBxefVdhPIyugJjouLeBAxfg2KNaQ0Bix+RW7I+9/8VvKZ0PWSwegD3jNfFbWWjLp58ny4k0B3hzFA1csExhO5WkIBQmz5yqofBaqJfH3XyaNfseiTbdCQvVHzLnhPX28jNGJjehHwFaHdtMylDtR9GRm+67zeEFoVK9ebhbxFwpRFHLL2jxEKcFwbLZI9iwE6cJUTTg+3cBpQZDDqgn+iIJZob+E/zicirMhk/D7poQTXf+k45j3qu+HcE69cGfAgexZc/QrJRUywAHEBdoXfst5QdaPxwC5nSpQxolyNGLplSB5tTMbCzRNfzojIX1pTfvEx9CpUxO60PofgM7EiA1pxJEvh0hind8x3mMn88Gi9Wkq/jmZgyctcJO9FX8EObhBFJzDv3GwzH0i20OZSBMGOjkPDNmZgyOXcozx6OQROuIyQoTjdOJvYgwVFXyi0M7x1UupMP5aocEeAKn8YgVlclmBlu6DTtnaiMtBWRn19mj1/vJ7Mk/jrXRvzhyLdB5V/V4loi6p92YMhbiage2W0csjZedYQ3Mr/EPwSylW87pDObjqPoJQJdkD/azpsA8T1+f02CZX43PZp6m32Qv+P/pmKQNl1rdYHIt8NrZ+umytgjkFZvNr2Dl2E3wm/C1/3PEebzb87KpbcQg5EZPxYbP8ZnwtYIf9iVI+MuW823zsdlVqD9TUxBdmnL55PIe+zLtsvbikawBi7OpbZM9GgK1zAG1vqrg/9XEtS0bDsY89YRuCLQ/w4X6XlPAf8Qnk+d3X53SzM5O/fXFLa7FhZESbvxmy3XabBAVgJdiTjmjQYIBeIaV2bDolbuifSNWV2iMLPaIr2oBV6QE/ZVdv0Ougo20BdMm7EEBr7Vr8HplBAWXnw6uzHQYx7gOgPHZAf+SJrNYMyB2VkRIdy4RUh4FtMPP6WY9MfB1quHM8XMsTVwmJzielEHpgDGQCt0x2Vj3xvY4Rm0Y3gJqWloFyTLktADtOFN2KdWDt0mNGHwE01HW6SkaWm9YjYSkZ/PXSVdi3ndC0g2QyACW7vV+YtyberVhg0CwKOect3RL8z7BDiIiii0rOPzwU5KTv6R4p2Ndzy0z18FSS6CswVliYIJUiO8y2BZcRGAB18OSxwRtwpj8JXzCh8yFe5blAMQWqObizFS8cXsSlvwYE06ZfZtsMbGq3Dx1kArGBU3kkMFVhwnN6aJe83B2R5uwlLaXs05/eoyM4EIdoMjl14h6DH5Th1aCNe47LWDHcfAshwBamqF5LR2iu9tYiZQ3NQzOG1LSl7VcXRBynGjdj35u62Gwoxyy0HBNxGdpqRgcFAC1zGT0yxydJzcYfpUuetL8siqhdnW3QoxaadtlgBNwNYb1hAPLQRZYjTshONtl6C/hvAyMZnHARDVRijeO4sAZdNxaoWAC8BfKyYdHaRZQLmTMgGNq9wfiV3x72ur/nn3oIAg1sx34fL+rtgvONemf6iTJ8SRyItBPEIgYf/D5Ya8s5aSeA2mSP+cdgZorfekKXO0GLl7tUvtmsdA3IzQFkS3qrQu30jW5auxwwo6nMLZuL+cHWw4s0W+89EYyffuIzZyq6XqXdCOjHxquqtnCAXRgfRnK2/GXx4BAmI5fwkl6K31eleBrTKnyPkdPvtiXgHc710viwq8tzjuDdDU0XNSVNludHrt0JMNOwSuB12l4+XFkPCKIwAOrjHlfkyMcSG1edyantc1n+72cTudhXfE2eLsEfau2JLA447Bs3dCodb6LXbui3+Bl67aZnRUyZ3yt7T5PapDAEoutjFy0iGTeMPoPj+25lksMBz6wN6B7aA5ove1ZXd0LCiFuGuX8oPKfaIE4iuo3romUFpSlWpWsxsnVgOp4nJh/xI1vNQOk7sfrcEM4havSzxTddS5BDl23oxbyYuwXhvlWrz0IHIgPKFQZpGqv7O45UHhGBpb+137m6SidHJVcTR3n+C9vOkRTvK0ENYvNBhZOJaFBSprrWaf2VY/8l07osRi5oqmekhj8ZfR141+TLdVXAhVWUaCAzJdTc4f+z+nA14q2fLLqNQ4mhu4Lx/+clYNEjg2MtdIWqdj0f5ZtbkYcK+4jBllduL9plCgNCehwLtOpzxdbzqLsZtc4ilIfVe/+f8qQ1VisOUT+yj+K6cph4nT3y0w99LZtPUqKzQQ66r8jIP18Ok3pkLBRAf0uu0ZaD/PYirbCBmalrCca+EM+oLLl6nYmtbMy8YqyoTAL/cxZKuy5fFMysvOvcV3pf1Onh/BdqTvK+mauQYgNnX7b548h48OcD0g9h/TjyRw3+e9MXlnYSwzoDwiD6jp1saQlkTIzBJTKf8sXQxMnYwe5IGQblGAxhceFOSbuAlFXZKuKIky/SsABVAfVfVJo0VgRjgHKuW1E53qtx0xKDYMNmyCkVbTsYgnvewRZ6JoCT2dcGfe3rRyh3peqCgaTongmqnD7cNLcpJxzbG5ILspFkL6hrqCJ2VSXFHKKzQHGxveFxdF6c9c7xIVUlop40M27lojtLTB0lvdO4o/LjiC4kfjt9DM76MlxSQrvK4pH42TlpmscF0QiZB65ZsmIgAWDLGstKTadYSdxPc2UAWfOT0+Lxlnt1+dbUCkZ4WXpBlVwtzPC+PYwMlVPsERFidRDQYFLem0M0Rg4p0HgDfNZAKslcrrqD1WGsdYmXEY4KaTGLCe2MdUYBe3ZbqaHXpBv4bnJ3Gv5wJDB7pV/c+UBm50vjhYWglkQcbY2W+5SfBo+oaDkcAtAwsGaW082Pd+RW6xdo7/s1uBpkNlAW+plyDiERddJM1T3FJvMesxnnvFUSAbRZVwa4+QXZpF02umPW2j9JXkQEq0Hwb5BZKNyehcD1UoB1sabTz7LSjOx/9zjehvBjcFUYaKmKKYhPN5kbrC4Z6NdOuu8e6EUCsCvj7gkgJ8mdxWbFOI6BK3qZeSB0GfQD43utLA1+gS85o29qajVpIT076t9KS7kfbSulcaOdXt5XsVOdozL7nMq8ZvWMlc8D467D37Q0BE5X+CrghoH02Pwxv7rvqkQ4Af735bLVbN5/qYoyupieh4/BAlK3wkjBKkRSepdNnsiZ9u87qq4zQrMDEZvNJ40mKQEOB06ys5IGWeTEOoGYrzlav0rD+qqTLP421V0/SjJjhlnKH3FCj5+Byq8zgXlExf6ZPat9AijvwXnGAeFdNYlsw0fUaO9ZK5TBk51y2urVic/WW8q83WHtisSAYUnq59h1lf7qwph4mdK50OgNV5xmI3z89RS4BBXnms6S6jt/B0Zj+LGM3l8C4avQf81KI62QdYWOnlHwTeFDkYh9beNhW6Gdo72oQq6KiEqtZOH/2LoV171x+fRy6Nioe7m6QIYxX5ra+BN/GtDVaKf5IvppxtLZaR+AOiyTC5jDaEEegfoDbPvb7UiPJtmKIdg2vuObmx4oplNocxvkMEdjXfTQt6fSKMx/oueulx8Qex41gsulDDjj9fJLU9/DclvYwGy0pGGvrciGm8blFXfIEZ9fzxkRAEPBCAn6s4gzdPnssm36gbUKwB8Va67orG59jNi195VpHqaYlUSQ68PygcKJPF4dX8RBwMHy01Ed2AjolBVaOkBawZNkzpRTT3unmq5CU+nojovxsDeFt4NvwY/YUa0iu9jBIBPg9/z9BDjWwhBW5h+S9/dsEs266eutpwICW1sYENi5NewYL3AtAd+GKKixKbE2Fl9/4nVRUOps/QJ7c/DnPtLwvRWstkhKbEnlK5bnLCwxp4LOMPTRBGohcg2cIj4oGbarLtAOYe6JUzEPut2NFU+YTaCtmRzkKsl6Uy/Ncpy8XlIbWsQ9pMFe3iJ3LEhmjCTGiRpu1HSh94wtNYTSHRBLlveIiPilUJwSOT4+w8Q5O7xFTF/4Lpyv1Rhx+1ZVg9YS6QO6yF1umj0TncoJ3qJLtc952OIn9KWuh7RZSV0/3Y0VGoKKzE0Snk/lY/6Z5nlPbtMJAe65rfHYG+whCPQNl2K6ebDfk0HhSUWGnL1/h/MbicNbR0hCcU/eih9GH/hi9e0z4dwxD6dFW1fqvdTK147WOqHYlpUH0X3FBa4xg5vQFPOu3gr5KataE6M9oOecxKezlKALwbvU0wbNEm+Y1vEvfz3NdkI3RCvUjvKyCl+5Kbt+hMWOa653gK2Ls7yxtudgMVHDeu4JqRvieLPLuB42TxCUK9D3OUDK5a6SGLmdABsB0hxaG3B8FalK6+175fTOsEms+9Po1zCIvz5k7zdn23PIeu8E5icUd7oMndqtBWG6Dl9Bw1rpbmMnj0DcVfzcKt6/jOA+GGz/nMmkw6GIuUQx60L698IMMjIZKQhiQAo+jnDEzatAIltEYDOzWFECohbw9GEEUKcD5azi3D5YEZbvfJXSFOMEPDND6PMs6r1/RyRFykpjVYua3AL79qyQjUyFA0r2WtC7E5L6JYzozlndWVcpPmMNPXIVckYQqaB/g5s6WUL4eqPyHJlfS0GB2AfcDKRLrx1kPablvYGWqgStWahybgSjyhvIRRtjWSdPeY0I3T74dOgr5/3GxxiBRvOMTMYfaKGNrUwt5o+w3socVImRT9VC9f0mxNcx9kJhmXkR4IBDw2cnV4pbV6CnU8DXyzJnRwcUYr8i7neXECqY4YAu0uQ9+yJ1ie6y8scNDJ8YaxPfMMi9hvVi/UcjTRFD+YO7YCxFcOTN+JDA2l02Q1c+0AJK8TzHrnjWKUawNKNUG662WAMChg+jPF+pqLDSj0YYpEdZVubEWaeDC3CMZ8W61VhLI9cFwnxuMcEUY3ZT19Z1yqV4tXVj+oz16JZanRZKqguruoy9g7SCtXZLkUjlHiBkhZGpQwrLjD1rEWMheOKzUiUKOC2sVm4e4KX9Wi1rDadLNmbOqjAZcy+XdkPhvzbyQNARh7H5LW/YGCCkn6pV2/s6OAK2TiXt6zw9AFchgI8GCwryZ7lEAH4uLUWKUnZKi5dUy61wMZ9/OwGwBFpg5VrXtP1m5PNtFf4qE0Txk2h2p8AOWb7LW2tW+wNsbuZxZ+iwB+SI0KIcIwb2A1RGDQl8usttiXHRkV95PuY9SP6NRgUMwt3K3hQGYESDwonQ5FoY/19cGxsmRdz2MRIpH6bS2GZp71ZBDNaZ/dOAoCZpYd9Dl3uO97tAFHF9QEn5v2ZLNlbMNlFoWpYHSB5MECGwT7v5M/9+Pr5RWX9uvlnwWSCM4ZZXUe72vM8fLIesZb3OltgB+FDZ1/l8QYF5oGmQQavf5wBRafdN74OsFmMTMBdiK6u3VO0QRYpSlKZKrn9zTyNi6kvYVUHTM8JGBwVx7xBG7beJtcI/FTxrHmpo2YJYEym3SNFcm/aTsho+Ot1Zb1bQfs3lgLGyQiz/cM9G9e5/PJ7R/RWsy1sazgLRj4cioMPbeSWjX/Pqx7TmlsBZTTCWtAsR8IPGuMmye43wpF4ZnA+8icXReplIkBa1+eiP7x5MLREFPt5VCyHrMQAs8gq8KZY75unWwc0sjKut9aPdjzLuluv4Y0QoVuSC/Z8bzh+T5zkfdbcWxKb9/pEZMnww7ldTRGKRywsILn2dBAP9OUNY23T2U3sylUZdWtXugRoc8lMXy4GZVrnA4uAN0YvX4XgMd0GFbR5JGSQJ6LODEj5uWuJduZQyJDK/QrGncdevzxVR3/2vz9bBlHWBlKWCNUlAAhMFaugfFxcactPSoQEbpxYbqendNytzqcte7lYEpJmh3iei95XEqxVoZjKAnO9JAikQjApNQoTa/o6xordEGBNlzwb7TboBZUhxPlUcupG6y3FCUD2LTMj8HLRNOPp07X3RMkFBvgaaYkN1n+2/ViidPNVOOFWeLnbxeVXjIeTAo+M4dFH5mf3ojPs6dfaMJc8EP1KMyyqPATwuA2Fay4BjAhs5hYkWtWR6fXYaqIxUA2w4tOJ2DJh+/iy2Z5Ar19powL6GnM9v1p2ksTR1ax+IG42A3LymFFYOpok9zSekJvxjiELyAPBkphX7B8PagTwR2ZJu6B7Tq+UXrgChaSSyV5QnYiKFpjF/RT8rHOg7Llzo+eOS6IMfdFlReDmKlAswyM1Yy04TvJH4SeR+goDwOvV7k5+nW3KwjKBKliinM3PHq2tNCll+J6f+JF2d7XAGA38Ci9rzWC5gc2ZA0jKzS2PtWhBljbRC91EpzaueNVAwxcZOXs05Yfb0b3E8T+Z0UoG1BcsJhtDnYJkJvjgVXd0cqLFp2yw4I1PUPr2UHALDY7xUV8BRhtNov9SQJkjUoRPfX2r2VuP84pOJKBVAGfnE4S3uTYaT+bDXWc29kQjSeX9Q3MYkKlnWyEZkzH3fl80Uj6n2dwU8GrAuOaHoj+91Bbr9QYLX9JbiIQdEGVbn/58SBwC/oD3+zQjp/DUJeDIy/HOeboKIOh/MOtpE7VZrhEyEkkWE7YzUbbwignOi9eAGb6niy8mODrfIFwsgtxqPAQAZVegj0rEFsriaI4H7ZjiYWFuGbahTGlXMHloIYTQg8E6QoWOl5bIHvgL+1k+M2eBlojb8GRYHCzGURfLQAp3RkhG2vbzrcSzRyQQDYV+B7qsqX8+a7M8aLm1sf6gBpdS2KDc5E4tZtQOqvK0w5q539sRE9JhlNDUg+EJDbkFrANOylOVHkrsc3BwNJymQQq2sGG5gvWvK84rPUetUtlEgI2esRUCy/Q4aaDog6gQ7xhGrHQYLgr53b1kwJ1m6a4+qNWu+JBB0yhteoFzAsvZ2TRVxZaBNreDP0j6s8z0lR/qux9mVV8TH/J+lIyWAGjs8b9wXLbljZp7Rj1lUBRbf5LphXwq7vNHfIUTvknZ5+SmdLnohBSnIEQVADtfsiQVmcIPq2dGtGzIZjqXXkplAhuX/7lDrFyRN8uzZLF7oV2wVMGvCvfuYKNIW24K6ptjIdQSj126ALPSHjSitRMfguEQk6SDemwwlQANlARxTaqtE+5tSQrsGZdFC6io/O6s+OkISaQJtl5zfdM97kPKJhenbanZaS8BPcB8e/xrMGqLc/oz30M1qDO7ag+umUStBh+dFChNHI9FxFdc1twREFEZAsiC4sqg0lKZyD7vgXvSkq5s9QoxkuIk3oit58DoukX6PoGVdOfm8+dhiFTLVd1n+2JtNsXX1nL8Q8McMxnFgPPUq2b+w0pq+eF7BdfRH/GiGhX3FoZg3xX+3epz65CorvPu2Y+3bVCeO3OQ5EXV1zzDdUoDQPOsOKuijYmeW4nyXeYf6LS1vEHTFiSxPivYL+eeUmoP9AqXHSSLhJNQJV1v7C+kxvP3xCcDFY3QS5AIh/+5klSxyJ9XNZHJ/outbX41MnqyrbNrxRrptrlKr//av22trIQ5JACL7HuIaFTzbQxDtoeK2hCzidztnNFKU2AzXbyZ0xYEqGDghLXWAsFOcc6N5mQOk8NZ3bEHlK2mWbiCyp3yW22qHylPf2qc/997CeDHldy4iye8JEJBdNCmZQ5/0D7udvNYBbxOjrWciAw7uKhlXOEW8Xb1OXllJbZ+QXl7KkQ12i923rYNsj6fmRceZu+Itlb6yPxHcYPBO4Q8lyeijk+r88uklWPzI2wbAQ5AUpDZLV/V24ruvEKfE5SW2Kh1Stf4OdwcOf2U6vBb9GF2j3KnE9cFl2nmZu9OtFe6zFh9VkgFG1+FdFtK8w5oN/htbTYIueezaK+YlnxkeqJFD0jherTcukU9X+kaxVN8Fkc3PmFYujy+tRljPhRPgKYfPGtV1VlyFaabKJhvIHIXmDEH+SMUSXwpI/cJj1Cn430HaNn7sBW0p6AbVgKvwKFJUEwufPIcOGWr8j4QT9KKb2kOHS/HGMXpkmFzE5Y6kO9X/oMYDoZwkVk6yJH3vcueIQEpHQtcRaS3HpwnGVljqtOCCbDaolBMbFJ9rAHytWr+N9T/U0e5xfJMdHB84IiMacmWvGnGZH2kbgfGVEeWcy0aN6adfo0Q2cqUQBNwpX+pGgBaV9SG5JNUEkJGwGn0rqBXMpZORW73OB8kkiODEhXuHWY/ZLNGvPi9D0mThZRGv7ZsM53DXlYoHCQxZvyYzgvjMxOlau5NIoXH1AmP4r2/YZWyJm1Ktnpiy3sAHLd8zxMPanWhA/BG7OS39+Ix/Nlos4aaCeOVBXWkxK2My0UOSdEHrM8WTtqIPofhBFgeGjah0jrHyhBNPrAOctTgCKLJR9+hIqbO5boZ3EdTHBlCj7SkAXPRuhMvLh64FTpwukA5BPV/CHtbq/Uo2IvycpHEQQmZ2ibo1AmmbB0d6HqpTRIZl4TILY3aLtuQFxZy4Hhn59FqlxlWHVN6N4SHEuf3BOVohBYqtUjlXQWVegtU8pYTKDOGVzPPvlR9Y+YEjqyzEMinHu2SHiW6yMU9N2RrOkQtL1RntVjOC2sCXAg9Kae9deaCBuSZgtebKdxWTK048x83pSMO9UdS4F2A3NwrPwnDewVFbzNu3eqIWx1o04T3ZMerVFL2NhrYUqdPVgVJAeKLGP2F/FRDkoXCnXq6Udq6qR3QVPiu32mXd7iVj2ZFnY0jeqsq5XJ5V5RbJAY5EnsgNg54YPkBl9IorXn55K/3FObEx0IZXqVKdyNSWhig8ucxv739T7ZeJIOFGOvCVJI0zMeLxbEMXcWO2wypTT1owHhAZDGOdy/ZLnl0CWYTiR2Kbl9WTnchddPWOn92xxC4FaQDVVYBu9UVobneo8X6jkXNW9wasARYAwpSD7jnRHNf23MOw1va2n5ddO50SnKFjMtjGukszsngD/zEyCkciBjQwfMfg30WZkWZxt83mZUweXHYAcxgq4AOaTwUlXBwL9D93OgqkMxYx25R7xaw0Wiw4QqP31TEZfaGvGq6ULTc1P7zo3kLOB2aacvc6dcZo0pU2KSnDpfppxT94kA7Wr9w6HKnbNtGmE/KEs21Mxi6J68OiRnwv2PBXXZ2rC/tMc5sxQxysxTPVDxJZATJLcUsGOhQcElXOVXXKMunmiVq7rmRwxqRf0+jmq0mdNQbElDb7Kwxfl9oL6pNmlrg2bcp7seneSVxMivShyICbmkC34SfMF2XVcETWmqqOimCqHrB/yFYxn2QyrusnQJUee6oAWh05C1iBavWoNtVdjt++4+ltrwbfKlqLxr67DCtzs9ud4YoeU+SgrNRrbA8+xLkmNxnXPXAKf8MxHC+w6YgLiknAQcFmj/gWwFD7Z7U/mdp/8W4kkQALvaEfhDfIRm03TUI95Ezt12jmnCHGUEcSCKyP6VZyY1rXn5YNlbSup31AVzSe7rHXFKTSsuhxGk6RT8CA8vomXaidVEcKUSuLLuZL0odkqPJS/57WmiiQqY4mjiLceu1RkNWTmGSATdHIpONzjCGE4AemgQMw4jCm7VytylqRmmlNX375PX7TY3ITyj6Z4UD3pX1GUetiV/AV2E8YTVa9fPKfQ1vkbs3U/GEUHOwKVMFGCAIC1VV6FZ17rUpeGo46D/tkjwLhK3S39bJAmZ9KuP+6721PqPOsEXv2IiBvC3tvXMwAEey/a+mtxM/6sAaeb6gkDM+Yi5Dv5Tv7NHClxH5YLM23pluxYq99/fzwI/ZXTiH0UWfGg6++8tDO7hcUNF+f2K2fm62K6Uk7E1Z+Nm6U2nj+sKkJVvkd0JHR5MlfxpkstimNfFv56mn9mX+0uBCOoexVK8WQmUsoGI56LEFfvDuxQZSrddKzaY8qYjem++dOxOBNCTE+BRo27iEZgxDjHjpSSildgHZVXs40DuFdZVrm8G947r1I1IpVeUwFyk2joPVwPnYa+yTciAZdoN/xBH5+xSj0TUvmO0qSCv0nzgCysz6UUtazfFNh8wZ424ylKxR8ABQmn3ZmC0vcgV6fH+5NFTTGBRVsV1erJh3F9eZGBu822HzsxIc3vVBivxnJ0Hp07fjIswlGK8sa7lhjJJ0u3G16dP2Z/mlbLB1IVT51XGUFp7PYUsSVynSFAnx/D9mBzmWO3RCPBOIwaCgoCW4rs4f0rYMW8ExlsPFsYDdYBnpvzkjqDrzTvbZ+Jyg3zPFyOLI3F11VsYoLlvxkEpiBjCTm5z8XSPC0FIulPkyG47EHnpPfZF7SnTw/ezTYvaxZAE9oWF9jFW1BGY7EHfCkafxr61HigFZhcCKss76WogbP5XkUtAjUGvIB5cfzIBacV4q+7+o2KWMqYYKf++6ZDn1kk76CAo67/XN2jMth00nUFInxlLgU6HmY8LC69tbLo6XWMyc0B6cqIvu6xMXrC3hZGSlJmSzse2S+xYoiFb3wTbXoLaxzlE7x/yzpK33EB92vFpb8vueg6KukwhCp+aOnKiilKWIAe16F/MBW0Rknv2voCqW1JhTF/Nr1US2+BtJ9tiYE7lKfiegFZ3HwK2JZz2Yr8PPLwxqlOMT6he1HQk6P32pBQIc57F8w4YfOq8hwqim4QA9kFKh8/0qIHbXeqHSVfW8xPJWIuQ1qJ+9soP3D+EAS8maMK4fpsHa+sjyASaUHxQQUQVVQuTb1noDUgJlSLrqR9FyyUV137iRYwaBx2M13Xp47oFMh2mshLp7I41bCFulLOAu6K7TXq+/aW5hBVZCmlrOUbI/Laj9qccTXCKMLdaoJt3L/+Fs1AAdREdDbATQp7TtmTVr9KlXYNLtKFYvxahY3cLQk0dDcBZXEs1Pd8UAmxijwJuX5HjxpHDPHJIj0IM9BTc9fYJOqERYZ5jSmkom5mlNHXmatqC/ZzgE0D2qKaHtJjAZtUtxEdayb2SUM93Wa9cL1oVs4andYegTd2LIuq+Gyfam2LJxIanfOmQlYHnC4MKBlzHLwRlerPkN4OzjmxHN4cGK0nD4T2+YV88EErx1P78s8VThOxWbNXZFvcEn/aKg0JbuGhA3qLMzxsetkBQtVxAwO5IpX7XPjPkqY3V50hMwcAFa2vGVDiOb1Dnuwu73Q7xMw7TkuXbAxpssjEX/QmzuobvVCOv0clbGr2jddjeWJSvZCLOWpRdT7A0jV1fRbjDwj2h9Po2yFgmCzBPbiIokjUJC6E1igClrGzc6yMFVFySJOLKdJyLNQF6JxhYLAmryWu+7E4UrNIe20g1g9apsiBjeblbigP+gGMDa1KxInKE3J/5fuYlzAll7D93nI154yfIeBHHSIVzmG3qvUTNKac4nGB4HDtWpr03RZlfO46Ow2nj2ZCqUw2ej7V423JEzbWEnGdtiJHAj9E3Avenr4c8O+Hliju14iJsluJjo7ir8SMDmQAX1tbkOk9EUjD4esDq3K0HjUszDPZDzUNnGeQ+qBXcf5h0JhD+HrrGlDPezP2UbZ2+QOZZbW/qdnlUcDUXvEWJ72mikcbOvum2GdPZWeuZtqkn/u27Y8+be0XOPvBG6+tYpeEy5LMSkmA6ss79HW4drhd2A6zTmnN1mOj1uyVdGeAkQUBIWtzBpIYhzp96k3B5aOvAX8HZPYJZ6rq8GmCnAa4caAMh8TrsJY4ZTAjepenj6wby8ExS+6YzCw9sDKKzpcZD7hhiceiDj5KMyu22OYgmMWe7rl49qJ9CH4ToLI7+EqOu3TODoLkU6qdXwO1cxIKmu4r9nt3AXOztclIMqXG4x/VIGw56y1SZbUskC4P1wqxcwlNwOBWhJHSoj95tdyhYdXOrfqKGcRHASS8YLi/t6fTDmHYJP0Em8k3tEiD536i/S2YWakpKCRhvO2PKGlYiLFlFdqHBuncHit3YUMGv8j8d9mOUp45Pp1KCt8fBCvt6QZSOjYzL2aD16RlOTQP9iPTjjptGEwy2dsM5D7bES4RV8jilFoIcWuk7+E0NRAh0kcV/+ZpwUV4zFZDdEuZtXAEfutC0d/CMewGu7hS44btlz/3v44+S1is75aRv0akLMDGbEu1WhCJ9Y8g4/A/TVm0qMYLZq6Z1pBw7UVJW68jshPyjPulJyqq+dR1BsaRI3r4fcMbUyU/8f6FKmVJP0e4y7KJNgkyQEUozDGUmysMiMZl5m89OYXbZ0sv0+62nPvHvbr12ibDrKOHtJjuXYGfgnJO85PS1LItoVIsE5AlqwRBvesm54q7r9vKNLk1VoSrLAH+LliukYbh/OL5Dz0bYvoHm/WPpAhCzOzkB6f/CpyjJ626/ib2WrJoWByuNrpciyx44lVfzUtFn5twfiqAl8en/smJQQyqNqlITKhh8cVVlLZM0GEYzOa1Ouo3I45RV8AaGY9p5vmjb7k0bXDGaoathocB9rchDacJzoBH6j1N1bjWFFcdVAAiOSTrdZKfGNWppYMLZOi5XI9THAVH2LDSD//+Uw6xAqc8f4U7p4KDnhrGw1WzsDH15RZErbHf1k34d6Pz4hQN9M3VS73J1ymZY6/O/CEGvEIgoXuOqg6GYuKBM8hfc5uU4INmnYGH8pmR1orSAl7BDLXlBsYRG4EOdFMfqZHfAu9sVBTIaqt5kduuh8k+xA17qDZ/oAkMjUnHXEkcjl7tuzDaCnMH08KI2r/N8gZQEYb5m8Z5R3+M/C62dS1580RrVE7VZzTofVLHIIR+1zZpJtp/SpnotHehZYlopOLKec+f7/PvWPauEuXbZAbfBJuRouw9C6e0KpS8EOoq78FV5N1Vro3UiNVWBJX0eVzjvgWLxGnePsPIsewHoDT12y7oSUWy1G76w9gkRif2hzGSHjTpSUDnUXCBID9FW7qBZ25GzVPhibsgm59ZdyZ0jS1qqsVtKFghepng8tSTa6BxWaCR9jZbG+h/0/ZaNQO4AUNF/PpRcqwiPFsdK73H/aVdQpE6y5rvwQal4FoOoK9U5lmgQ9XDX27WOwJJoXA/kJ2bXBhQop13qvnW7Q92Tw/bGpvxL74BabfBD9UD3Y09oY4UkWZDWRLh9lqMnPc6jyW9WkSpEcj8lqBbY0XMBt7+aadNy0Ok9YIdzhfvO7ZXqSUjzHRlTAjkM73D/uxFvyDThP0kXs3YSBwA027QvXW9mDxxA/ur+5PpXh7oCU3MnuUO92UqFs3wq+KpruFVPTpiYAeJZZ9Vkh5oQcBccNTMAFJm/SjZOTcwhSoq1xofci06N6gsBPBPjIMeeLAOKvhlbVoCo2L11dyjEpXrdAgpSS40Bj+bOZeb/urXbvIF3xNZdF96cAP+qJz+MjwwzJjYm2uYCb9sH+73ypGlz0VOm5JHYV8/UbkjfK7jz0VXiK0/dYT9OcshfEpBVFdkLgjTmAmn+2TXKE9Ms2XQ5tdmoA6+nxvqg8g47FwPLvUdzkaTva77Vb7Uvsf1K2OHyV4VKFvd5TnjCcIo19Y5EPtttYE3g854h0mGjy+pisKAVqJi08rDVrwhumq34jGfFagAzJh07hro3/HimBAhtnXn+SG4ZlvI5arfv8ynofiUtjUxrCIynsKBhYcGCqbG3+6yB72lNW3tMexcBM3lpE/6blV/1+PDqfBeuP2O3nuyC2HrfKKalRBZMRratFxm74Q3sJyfc7zbISt7ltienDYfUKvmxgo4e/Q5zMpX16PxEG22RXcsD89738vkf7NFBasKZQ55vbyoYd6Aw8CH/aSW6cABeZ12BM+zjKCaQfLovljdT7GEy9R8mrSn/RcXxlUAcLMFcVeO2NfyMQGV8u71B+93SAW/7RCJIXHc79R9gzYPEESlDHwij1fASVnm1B/BMyFdhZbYrBu8CO99RaITBV2+9KoFKp1zhLzCZnnpv3qguP8Ex2lZfqZPXMlAw9Krg4MM6sWyXBup0ogf/+/GeyL8liTX6X6bGXsp4YS1i/Op50RtGOicoN57cNmwgZC3MuxwSJGLxWKRGwiyFQaI8GuZPAoHgnQ4PKPkTqwbqG+mlX01I746Lhs8MAoIdmeUUapYWLD/kLfZUMs4M4hBsPiOx/oSpZ+8l/UJEPpsRzafLdpULpeMZgVqUZjPb2dAlClvU46BS9Gt01IJkMNZ6Wjcps7hIpkGlW2w9OQiY8Bz+6/NNFyAPPmpeXAHMRoQ1k7Hl1vuROYjkXxTM8SESMngF3kMbex+ieIP5QJFNzOI7IH1z5eYeH7GW8ZIhOZmYnOYYjvX6xEcClqP5XVVBH9epcdrDCFLJC4fJguaJwzzjCQHe2oe/dz7GwpPpBcmq0WoO19LgOt54fEWM4tOqHq/DNVguWcQ7gDEsswIWjvMOJAi/CMch2bp/8L+pEB48l1uaqrlpsE6fjOUOrWCOdTF846W/UpJT8xYy4J+aR4xgxnkuZBq9Dqn1chthUr6mMMn9USCOp+A4Fpkes5unJALV9ZlZw/Ag0z/n5xuPR4QKNRhkF2nBPC/kXrPlhroVUw70KB7kfHqwlMkwTyQC+RWn7CODCFhr0+byd9HqOv8mdRIw5JVWNot0S6tilNrDx6eRVGr4SPkOTwt4orDCB8J1sFyxYZ42GfBCD/Yv9p52L2lqR9GFW/1tb3lQPGBgkRqzyRNoBoznMIhXsgJyucV7RHgIM6EsCMWDY+LOQDB63HfQquuGy3ivAxTcQEVR+ncmndQFzzbxefO6XdgTYiHxm0QELclr71EI9LElTFyvRhzFWa066217sZaKerM1ra3U7mkJyYFbxId+iPIFWm1QBGI3uk5rp8g8clVqdFXXOdyPqT1uoDnD4TvoJphaRwKqfrl2MMJ7TZDdfCxSUCdrjEBCnvDybT4WfJd9CteyR9jb6B0aJU7889ZZ4OtHOE1wSm7WN8VDhEhBhMPP/F++5p6P2pSl/JqWxeE6yrtVMEpayHtBlUzQyP6WBZIXEEAUxziKAYCwx9xmNkzoR1GKw3TU7JU1EV+IGreh2Jk2SYlCAUZhTFWy4CEN1oaLdtP5JLVPLDhlZWgDOg1/NvmBzQmsdUelg/dNIlVXbGCWzouylZaibgJP4lcrYgozIwGFuFUK38DmWcaI6IeyN8+y1MZcP1i1659iKh9dyfv1mxRk6zy6E2flavqaflSyAXHVLiOjF7h8HRafvDdYIJ77A/5F138tPIGD5JTRPDjjL2bssVqzTpd59+ykBfPR9Yvm1vj7D+41OK3L6jnOh7paDcW77Y57nTUwVeEtoA7FcJtbjNm7ViGr9A8Zfqnf3yGCf22wrqqP8tH6gV5lKBPuNekFjpbi4abM8psknWeyPECp754IYTSjYdVYxj75fsS45L93Qvp5JkamQEOQsj61jcZrdh0noXhHlpxsyg0iJyuYEVcM8gNUhumDXO42QN04LJ0dAPZQm9HRbgts3t2D8w4nlGROvTx0ifgaGEqSlKAfVHqiBFkQZQ67HLWnB0rXc21r2X4rujeOfZiE8CRCsmXqHzPg55GnKz9Ut6YF99SN24GykI7/1tX+5ztW28KD8dTOXCGMwb+sL5Pk0WOwH348VSaSdzf8ZJsC9pHNXNrtJtkrbZVbftvG2kTjjEhDItnGeX8W3Nj3+lhmDs1+jR879gemN2iBR4hx02uEjl6Z7hol6BAYqPA+E8pAzUP+X1xRZN5mp8HG8EYtiUBBRLFldmbSaD4nDxAhlC9lv0iXY3oCPX5kRG2kjjLOt2qYwItpLJ9s8LC6P2loorHx8fRUCsYU4chuVdrTTJSJ5tjo4tHIMTWFtZeCUZsfuYofBBX/8ThYb5/lAMO1bAKwBzaHssi/cNAtGFEaUmyl9KYnfJM0L+g4wM+kty1U1mvouSPQNtkcm5kz2poLFN+A5MKnwXJA6LC+V9nKALiU3GayQFX700YlusstGWUveyIsPHf7M8GRq7YGq0f7bOg3+AkE+IC+I7ptGNn1rh3TUo7cLnaw8VyqRlqhRhmirqkFZ+TbDgpfRddmtJ+52aBEqGwZIyGjws5Y44ndrSFz/ckzs6jidiy8ArhkrETefrA2E40HCCHyAVsejswIoFm2Iq7mepHIdBy8oVbIzK8Be8bLGkW5g1T8cAOW5v25Qg2cbBtUZc1V/uOeUVxgsoFproJQz+enWIyn13KdF0+QK1/c8NDB7+6uyXN3X6UbZJkgLMCwBvzjE98r4M1/e+xrEsSAklxROFX9nTpweFKw8qgeUgKv0urBi+w+T/9JwCXleu3b2XD77LQH1v6EbkcH+tObHt1mJL2dg3sK85OS+XNQdGJu0ePP3GMYjL7OG3eCTXqrfXpdVz3LEBXdimK84U14wS2OPZed9jL7bBd+S49ZDoCvOMaYWvjFnfHoDt8x4Krdnn82haevKOCUWUz98/ICCt+gGoCFUTUZS4ndTZFy1OLzhOll/8EiI0QOqHP9oef5Mvd+Zmg1CicSFJ74KcvTV86XIzad2Wy1ZSCUPM+y2zTtevM5gEiGCjsZhj/7CO9sg9aWwrjNdrl4RdGjinTi+7j97W3ZeBV8y6RGllnobfI5xwA1SXDzr98qNMgDsfkC1ozQWWQ7LbM0h26KvClIO7REVAcPapslGG0xtyoD1Ewu3tK5ThztpD0K/isNs8pLD/BrHalqr8tjNRJmGO8elZNoiWMtp32cVTSk4y0sqK1Kwr8tn8cupxAnChrUt5bdOeZnb8wkBcSsa/PfeWROXDu9cEbhGlnJr0NDDPpj3GXPg05LRgsWHyYy4lvnhbZhpDjuwvXDG/NJzPck9ZBvu9eE+BewcLAM0JfJJ3QbVz9uiF85LEzkQ9qSvaKUvOUsXKt8WJGDRZ0AJ5wqczKEVL2wBvXnNTPtOLw/HVPgcb3ENJXYfBNF/O4wP42VG2N5WVLWfBOBFx8/T3n1zjodIZVV+ssxtiNGDEn6MaKESgz4ZEpmuB5fvOEldW6t8yzRweoNrI7HYjmZeaKvFRdsfQ3jm1UFYaFoUF5z47quc0Ja2jRVQ6AZzKXyb1v9vy/PTE/zI8q77i2cLXeYNa1KyGPqASRQRWqzxKq6AbnboYrrtM07YppVMAS4d1KUqdSPvdK9YFKmcPs89FvO8Eba2uxwGPX8tEdD8b65SOmiONZzuavP7ErAiNg/zLnLUzZ/YYQsWMbC86XSSHbSwKFqZb8tFx/7/TYKQ1fwBOAEpZnH1qcaLk3DlbJ+u5qg6tf9hVYW0raKTIcLhkCqyFlf4DCmQAh8CFBHQ1+FKQ2j/lmFdKLKzZRVuTi+Za1RZdYC1kD9vSYYY0UtZpsjMBRq/ClOWeICxwPO4oKA5sdi+L3m6tieUg3zcIhUClqf71z2fXMz+grmDanoyfzFxz3aO5lLamEvYTNVmprKRb4WuPBLXK9WAeeQLIPt6FIS4tA/zaKGnVf7/k3FmLnDSCrYCl0eYoNFJ4KxIuKxnqS1pXPMV/5TIBPHnNiian+Hk4QLhiLd527LAZu9LDOefR5NRYBjY2d3rBpeSRpXi9TeiZVUoei9eI+u9SMc6PNrJJ7/jrD8CSXd+lG9xGgCv9oaVeJBTkcvnud1gZAsfjPq9ZyfVqvcuDNKAoMTH8Lxo80+Q04ioZTuJW8grAHs8Slnnk6zMW2J7MchZrA+BBUTtEhHRPNAkmCOhzP+wkpssPyWIMW/mjoat7244fSpe97Vmk5rTgzsELx9Bl78cIXsd23kP4GOl1FYCOShGvwoWQ7vcLFT8NqmPC5oA7Z+L2fbKRiSxIyufTIqsSotYv1zi2Gnh0JLLNyIzXwYiLrXcc1y5Mgk6rDA5rldENPhdNTt4MglVYHtTCc2Fzc97YhaGdH4+bP9KYJNDU62QALkf527SbSK41TkL+grsTyYY+MucLiQm/hpyvlgi5qX4DCGmpRDka75tJ9zZSUEVbKmexEuNTU+jefIZWHDhD7hSGqmBA7RTzGLYVCJ4RaQluleESu8ak10Mp/bRdxxXGg08Ub+ieb5qz59HXYXTche57OmNwfpsZnk5ThTz6ai8Kh8lynnNT/+v2a9QHnx6R0Et7SchoEgkjNUl0001wYY1D9a6+YlqwrmpguQ5OOVkKu7/On/ogLydXRORThd/BpomHTNKUWTYx1nk9lgDC/WoPtSiskCKr/YCGVMs3z1zd1rgquRr7/1Gah/q+XS4Qj9uwMKHe13eoddAS55SfsxJFOpe629/sKoMtD93QeEu5q7h30c80WF65P/c+ROTkfbPztxgqCGRuOYe+fHKpUOcJSBGlxup1OO9IUusyBbnugZKPhak9FqAemyGVOcqzw9sK1mXdhOLcASLesSN8M5ZxXYSAZq9rcsa2uj4stg8jvMfnitBAqppz3//4jVuhfUlVQwpeXq8gBkBEF0chnZiWEv6dv7HQO67bSQR1W9kDk0obB9lq3yZqRtEMOjQ7SGPAPBU/xfIcyzkgfXA13becaVFNWPXZ3jrurZ96qOyHqPciFRmCh9rXlnXCULKYMr7bI2A1kU88s4GWLDJM6XmPUo/XSJhcI+iDX6hEXs/le1WbSXPHXJeJjTxPQHpAxzXjaZtyPZLh149/Dh1YHG1clu1d24G5Y0biTTJbYb5bfpaBok7QYLo5dayfSZzce5y375ko+D6Pac+kpWWnA3/oB91+42Bp3lngGDUDHNCPOevwr2qTZOOOG9BCIMnItDXcjs2IGOZ2UCw95owwE/nK0wENQ7LPW1KUWPMZSHpAJBST5bebnmJKEQkZcCasz2mz9wOGFzK9fp5Uurm2EAyH1/oliyCwPqqrNh44g6BeVWgFLjN53UQuRCKhaxoe7NuSXMrM4Gq15zfhnkcY4a/dvpFZinei9M+AB/EZZ9HQVQq9MkEipd6J8TwftZZlFYL1rnPE5R279j8J1xIMsU90PSZFeR4QADRRtr3ogScwhf6Sy1tsK56KJSxNGkfsIqw8JObairptNkWy5G5PeLjqUxCqpwoqDVO94rX6oKh3bpMQc3S3KKuRHciED/gbfaYrtddLutKN83zr1c/P24gQSnEw4TMtfPBaYgghcyDv0HgCvnmTA62wEXr8EWY+uAWzrArBJJOKhpxXa0sLJZEnXGkYpO+6mvu+1llzQdmi0RmynQgemuG7cST2Rws1ONVuFD6GPbJ43hi0bB3EPPHFVcqhgJ+eYKBL0X07Crsn4mUjj8dmlxcihCKToFMs8pljKq/qXu3oYYvnm7DSnaCGv1Ea3d5trZqRJnk/dlTkhqN+Gd3twjri/cCqJN7qh5shtDycOPsdEUaUWPZEb/D+UHAmS/VlXWshD/WREiloOUDPwh3H7Pf3lU0rpjkQUsNxszyshU3PMYrzLiEdGnxF6JZ5Ws5f3YwIvmKwmiwNjNksXeq74OwXAOTkRR1nUEidJc7wohYrokj8Od8DvgaBfm9911tKv6GlLSgN/bF3UtKRT0g/PxNbHCB1PWrVgKsR4WvM7hmAaF5fBbu6ekKtcAcb2BzGRD1ci0Wt/UQRzp77ILGDL9M5PS42mcQUzThwvG81cKP6H0/5bv/u5UhbAJeXCdRob0G6gtesuvA8MuYHx91j6AC3AbibGRov9zHzWOuPrglG267lpqsDdzrlswbWv0gX3vnlhM3CwILXEh+tXoAaR9gHgn47AJVBHj7ZxYzILrcjfVq+cBu2zmQcF7igQYQKAVVoBwBv0Zi4V37hoYemiR/FrRP4FXsS8YDBVFNDXwfNmWSvmKp57vdXi2iqchRBn+k3+92ShQWdH0Wz/B8yMIUTDRN8FC4cOsH9ScBSK0zpBf4r/hcnQwTrrgNjOa9JCo6CXSVPQOUXN2HlF5d/63zZ4csyBQVAQ6dFiHTxwH5hGwRhU9aY4tXPXdNCfaiM7UaFkcdHSZPZqX4Ogx0wN6Fa9d3wmAMK4XQmIRpx9x8mGBsel4/s4w4w7NLk0g8sXSHS6XgL7x5MnKG50dtPzceAD6NguFIzasz4GtGJtWuLZMegwcyjJH+a7fYfccCJu1MP7zlLjRafpTJ4hQbpa4IpMazu+ddhFMF/xraEG6s1mQbLfdkvO/KMiI9GuUukuA+abWfKXA8Fi7o2+881O4aq+yPtAx4vhbEdifmWWOC4OIas5f0Zn4jUroguV5UB/9OWULTwLcArMQd9rlAG1q5hJx2s6g8FraWu0t4tWb2bncOyLxSgQ9qKbmGU8F3DGERwYqaLY+Zi6yibsoQyNnz+qXGF/X610JLpah2kD4p9Ru8O5kacniYj22btMi2hX5Y7WQpNVvtRCo7gIA7YontzVREN2W5YfoIneox2xX9vuI0rm0QtqvRtabL6CsmZrN5Q/hsE1CMBX5Hsr7t+Ic8D1upejVV7Qr74y9tsPouH1yp1iEHx52aS3JdQzVdrV84fZNwAIbqzj1wjii+HhT2EtZZnIUjtcv35+JdSQBoELbdm23LvRqrR/t78y0ebYAdbVmeD/DtHA44ekD2sGv8X9Sfm8i36aidlD41WKhPJa0FUNQWITWbc7FtYwXQSZor7ampBAPPqoi1pV6PUu/O8/Gduv9ma4N2qRbc2qP/uitbz0FSCyetyhqSk31YaARVcAUuoUhI9sKyqqeS6n7BNNoi0djyqerxI+JIRcCx7uZN2vGdZIb88A0DdglLCt2rUvF67fMj2+6U7yruQHVBhOGnUga+GfCYj/CYeWG9W/JBAF+cHZ0WRjNTv6qlGzad9UZ/P9D5eyw03zbbofbYhsllkRj87AS0v64QPWtxjiqv1Gp2I8Wtfotc+/Wmayw1pOExl/jeB1x4FqH5sYxfxrhXLvfONBszRUTlxKZGkrBbZ6elYWAEHsOeXgO/rCrsyqJgeDtPvooas0fix2JdT6z94JRDhYWlXkzjDeB7OUouJmmVbUi/1HRIYJutqcEs6q49b5Tkx7nZOzTaziaRh67lJUrHf98G46AbJjQw6D67rXD3CcUoBw1VPw7jftXO4tUVQsCBWOgWmagc30vyC4uPCpA8f38rumVN715AoJr6RJgS1+N6wyyaH/+ic15hxhgYJHaanFlWIGxgzfEkKPIkJK1XyHtNWuqBpOFKtHn6wRAoUE/hA9Y4W+8/ik+mgqkOGDQfd8RLetEKWD8ujSRhq5nNNyPKmv4cwHS7hZbBn90wiPmx0NJqzetucjyIGxsznIe+x4bkWof7uJ5lYjsvOr+zg0ybT77dPpC1O5e05MuZ2pzmp+XRsCkPEIpMpdFm7+eb878kWRCXO12roqIgRm0mr16TjQz/oUimcGGDuI+PBXQEEdAVLw1Xwzj6HKgHDHkr6Eow0TlbG48F1vt37S63WQtNGfLZuJ6cNQoBOIIBmUZz14GFPCMGGhAxOxYeclknEOjnAV4dea2mQTHmIY4Bd4kdPG27NDBWBEW5Wq/LKhOlo7mDosL5umboiqqHHskjbMeSrhwlUp67NRfcKItnYZJ8mlwADF7+V2Z6lgTPl0Pi2Ee6k5318XRvZAO/Jg0CQsbgksOuZEumppXGeCJqzHV2b4VlO8cUbXiSCuIqzEcEhT4/1SrbTwBpJWu1c6yCzhI1WvdI+WFICSUEVkXp132eKrSV1pVzGWKZFggGJvjfhjxpJ/PyCnM6eEqMg8e1HCddXVOO8gyN/nKC3kl+eekYw5+LEF1K6YhJw6CGfAUvReMK1hMXG+KpsRRNEWx6SQffSHmHTf5ziqmmuY/HLqALqakfk825CHBwjZhPta4NXTx/sMlbXBnHqJHpRfiN96zeX5UdzHYSXx2Y6nxU/WgbT2NAY178asc6eofQBVdgIITVI1zb2/91b4eBpjf+772ChTSMOVVkJ/fwTWOr5xBJXBKuyT5Z7icvuBYlgjeMK6jjtytug3x+LEzzT+CkUxh9Md9rHIg93HDrhhEKz4zQ2qQ4Wrk/sxADGDyyZ5/4jvf1J5z1hOk3L+PpXr0T1iYXypGiqZ913XnwfIbKguRMEFyshrO1O/TALu+HG2rIPKwYLSa8kKOzkWO9v82G1zGwOGd0wC7XG/htSoC2Te1TnQ03eqPvXzxTxsrb0Jg251pNkf+6/87nrYA2kUrR5dPzJ3XoIBCaLTVT0w/IyNo5RayGm0yYxoBTQcoK9e5ofE+RASQLLq1VOQJbxqTHBZvGH1uPSFycGuJVa009ALqfDFxtpHn17w2RFEalZ07yBbS/tVi/uIoYjJ9JdhXFrrB6ZhUNpRaO56Jl0DQpIOzGE9ahoDElL2BwIM4VIgdb+swYSqqaVJlwAlinepQ3vyBDjK6DZtgaZRwxvRaqzH1H4QzxHMjcjkjJnQwMqyGq0HDqwU+11J/nRDYH59S6urjK/MI3kj3bgtGi5XPloJbL13yXgX0zvko0cYDzTy64kiGWEn+tNJg+9Mi0W9TonYpRdXjPoUYcYq4SwRmeU9/9dUW9yw+rXnr6vVmgTWfWme2HJ/3M5xse7yjvz2nlUF8BNuR84bGbnwmeHD/zGAaSQ/6TavJVlRo237Sfrgf9LfZoDT1+BMB1eCzCPjIka49UVx3lBwmHDEio6iMX9APZMnHd+oqHqJCsLlBMpXiwRfRp9oaFVSo3fmXTTWAmhxSqRf02oCYnpPqyyPIVT1Jeoj768jvYRhc1W1FoCzmFDnX5wVEJJS3yMiS0YLqbEEv1incetx5XomZZCKsX+puS5C3hNMF0X4+JdEPJB2qOlV2epdspLDqNHJlwUQ6aHY+n9D4KtXkzVqVlgpd3G+nEmNqWck0Iycs8razzLawpzJw5aIgUFMLJa3vJQ3EGNoTCuQDxdfSMz6BCzaR0mMAgyj64wU85tHp6G0caiNjRPO57w/w5Bnpi6JD5Y1wb49Hno/Ce6JrVmqrVEFk/U5nqxGuR24SCdgVxBAkT37nHF6FBL4IDKb3T/UoIjF9fFbDle4REcws3jdhqyA7aJvJverdZkSB1IJcwmcf+Irxldvfr9bzgfuIQ+HNDODUseOXRiWZdZmm1PuHtgVsi1Nuxf0B6lcVM7kikmV7Z2r8q4kCmndtM1N+zNXpD9hbsPg1MmELIPFJfdbU4hvfPFdgFb86E5whGCb9U/W+Qs7Y++Xz8W3UsIDGw0hpqZR6X6AChnx/lkuTLa/zovYVwpl0AzHMvZ8mpvXR9USoer+Sz7Bf0CQDKgZNO3PQ8uL/npjZaztXRYEnaoq0fKjqy2Kzf2kHwYFxoEXSqEaZPw3bczLx1no1+DuoeHX3gQ/hJbjLKIlllrMgJ6ydYIudmBhNKlsqLbuKvpspfnS3dj7fR4VAkoiYy1aWWyvagwYeBzku2VHa70Osv241Gtwz7rplQji+Vu7+C8FwGVsM5GyOg5cHDcuYbDuBAlPiYBklk1RBluPr0oyA5QqvsBTgYOOrX/ahEza3JKuahwSyL9LLu6QVd9duy3ouR3yxCpcgu5CNV3eKbwCAuqQfglXvvTDRTnf35nOn4v/XAzT1NUX5wytv7UaOcNRU/EshU3BIX9DQ5O5xKL+xwVf0qYSrlHNrL9WuqcrpbHf9KIXihBqT2XccuaX8xve9ztGj+Uy2azt1an92wva88BiIgo8Y71grcsXXlTtMSHWzRXFyfySwnqQ4nznVRvr+Tn6DyhVSrvkKxx3dnqcVw53wf2F7jk2krHfq/OQg0pwgSbrKhbhNXqQbbePl7rAolrw7xx/pFZptAElh90JK49FKVb9vWy8bX5W/taRpYmN2+5ux6KTSKB/wX9dRDY1IrlXaXsYnSOktHUV5T+X9xwzEtcSsaT23sqwwmZzD6P33vojP6giECCmesqtqeqMQHsubLp63jHK9yTPKWiA05MrTiRNI91UL8zqFBh6lhlFWNHol/M1jfblA1pl48OH+kFN1MXlAZWkQ74IiTsFh5Z8b3hRHn7zgzItIG9nDRHmNmpphP1BTxnIW+TRMKMn5v2kOyR0pQO4ibqVelqWbdVsavXXXL99PxkwnGehX1uwAiZZ4J7Fpva4DeXEH4RyujmBLkbQSjSmItG5HGu6D2++B7IJ6Lmc6SHRrzYWROv3DOHnbUz/apV/1FLsOZt9KfmjV4i3FmomVKpVICcNts33IXOcuBonvyNBXaQkzwvAPI9+9N5vrkzgc/m27E9D+68snzcdQp0HsmOJb/4X9S+0qQBcJwy8aXbCAeBiNtTJVNfKFHFTHB56KExGoTyMFapubk0rlBo+xk/qorzLDfVkoKE5yIzYOhOVy27HchDFY39L8egHzn3pi+9a9X5yAgOrIQ7FGWUXzTdRbxt0FkCkSCirSM1Tk7UnH1mZ6uIZlLwU2v7srwcr3RqxtXOZcZs6qHbp11NIcMyL/RPCDxyApBoxQlGxg4hq7L4rRvLA2QWoCi04qaamkMc9v4S/aMxQbsbjFpOFxzZH4NPJSGFhhrYVGHLoxwDjpN7bwIYXDLY/wTVcpyeHm1HGEnFC6MKump3JRN38Xvv78Uxkz9LYkNT7vC+zcTKFVlLUMFXwP5I39PxsLJYgOoeCAPaFiJXmqm9okXKstghF09Cl4OQpwTZhpz4kmmfSLMrZ5+5iARrNhovkjylVk4b2C8SbRmPWZhkTmY1v2vPSPTTW3YTThITeje0oIw7j78R/kNr2m+YJZ59fOmigXmChDCSQjB5oHWDnQdzy2Muie7bdeLFOrwClwNCDEltrG3xzpe2DxhsHaF/8l2RqyJmyvGDNZMv9ZRLL3D38qAnCiSnXoN7k/3pkCSW6/xoHcgEMm9qnsrZ8ECIdQ0+9rKBT9G8niJqMBx6v0AM6dsRyZd5a/E8YaGu39GnWHwSMbRbM38u0bLtSL3WQSJy84n8L/tBxsU+i6LIst66Zo6qhjazcjbzLA4E3+oKYcD8gz20CmTVdJLcn8fffUk+x9wuaP0Z/QBUUdM+O8p+T0WAjP+mS+IowlEJP0I6dTjlTs2DuyWXOmHZxvu5o2bBP5UrGuL+9A4GkxfjZm5yuEFNjfig7ozsM21Z5xojQPYwLVdgsy9Q49WiE5ZpY1sFIbS7yBNvMAw0L3dm0er6xdDgaFOGfXlHOzWu1HieieW+VNfggLyky9/TTpCJvn0ionRHqX7vMWPYnSPRqd6pBJWfqywelI8RtDyxx95I6chbh/65X6vN2CpQPhE4oJ4lW/ddInLPU8Nakm5wXz1ZZ7IKF2VI6h/yH5xikDVyrjShBU6hcKPVkCQzyA8wfJx4aKJjLmj00hQwq8EZjQteejKYxtTON8xugDIB30CRmPL2mCkQvSPeY5F6sP7wZFG/WKemo2sp1UeefMU1CYcfLahJRjzCo1I3Z0O63nihpffHyMA/uUekkaFVU/lIwgg/w2Mo1B7CZGwHayUU66T8kMJkDBlJ9E6I4ME6IF2DyUxXxD517u4+19PiUA3smRCv8mj49Aap3RBMHTEZzwbBaQG1QPy2t+H/DeP0V65yojc7DYDH7Jo2jGWWVxYWgNHC7NjThijbNJGItMwhkADTzOWlb9YYf1L3V4VZa1CemvAoo/SzQP4OqtTYTDyvZK0oyWmkRzcqoBJMP7pw64ElXdKRNDIub5grqiH6Sd1fcNubJ2G9PgGMUYKtilspHSvJfFXodO6S9T6CPTnsuTjqxRciPvHLqF646qHXlUpPuqRrE89ZSjhHQpysBfWdOuitHk0iYCer6b5FLP0njX5FXvlTI+o/TSX7pTe5vquaJCeE8XFkIxrfqitbDq/kel0tqs66o12zV6JaAbYh+thHUu0ftftaz5iA+TGmvfGm7xjm8L6POpNbxmlecW01pGj3oG8ZN0d8qpbfkzVyVnobtWkfNAB/vEDZA60CP05YPRKeuQHhcPHPOhAlKklu6vpibUL5TM0PAWgPN8IJQUqb7eH+vdO5r7f4C0D4UFsgeLVkN1vt5/bVY/7t03LxAitJ64s0CamE8ve6QX+pqu+nPUvMj3TzFgeZnsMnExlA8KcadlqIs0MnLDMmYAZzgFVHZVQq1dkkyQL/iFPZd3gNc28vineAAwiBNeYIh8Ph/DBt6aWMnRawd74V3NiuYk3AQjr5LDHPLo96B3Q0iFO7pMdnrndGhnnXd+oIH1p92AT+isRP8wifKa3cti+Ir7Dr+bd0BT8hdNKI+aKz773fWrPREi2jAjLrwSWkU2/OxPOav7gEXB6oBqTyJNiAvvIEozcAS2AJTF16PMT5nykqXwD0Q8R+H/8QOVDZ4Lqj532n7Cn6nrzyu8eY3CFtJTJugiJWBCjZ3RjJFpGs2c8dyQcZjccFo2qXLKzAGegeeAdHe1nWNeqKUfYyD"/>
  <p:tag name="MEKKOXMLTAGS" val="1"/>
  <p:tag name="ALREADY-CHECKE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tgGuRH9ya7jtvyZJwCj87dFIsmqSKF0GMvQZZNdOoGQorJFBFM0hk4PA4PedP2a65zugKAgVdqBhTXmdxvzf9qCy9rlkJczyz7jTtrgsxMkP143r+4sjNGLBJlqUjRJ3jtoWoN2pfoURFKKaz3ezx/8WqcrWeSa+nQOqe5ajRvuajtJPCI5gGNkMTqrjqOCjvwyxMsZoGqG2sonJEHxn6itZrR5J3itZv4jeV+sLxCN2ApKJYYn/3YtO6FjXBzc3EVrI6HIqssnMqrPI6LJgKWbiRvxw9TzybkykXW4/uRQwbSbbOmFJAWjHXp+xSRrE1lBpidYkyRYj2Ps2kTC1CBwqid0ono0WYDswoz/SmCNFlTBzaEZ6HZC2PJc3pCQOGRZFSC/KOepc5Lm8m6xaznElvqLxYEgSL2wg1Z1hJFRD/HUm+tuGQufuFpFqNJ0cLGwlzHZwC2k1zZWsDlQXJ2b0znpsbWeHfmhfxkDfTqYPpNwu18pVVlPrsmErPps76tDCUlaYqPem5BlHR+RyltGB6KGWhXV+pR5nRZKJ5qstPAv6w022AqcbAdqHeKWH1TY7kmMjzPecqYhbHZpGtA2AxG/qtv69dQCdw9XHYu9TCpamfp1nGIVd1Y3sjI3uHcJe9DAu7fFULGp5DMKI9SsTYWKYEZoWz4iB+SCW22A8R13GkDddLZt6YgeY9uTrdG1fMReDETMxlPpGqh9S9m/wbKik6C3Nx8Yx0/CP7A4Hi9qyK/4ebKrkETfyPQvVkDo+/k8QJ2so8i4gYL7bWHq0Fr7qHLR0AQIKXu0c+VkBvcrmb8iuvyax/V0zuI8+XInNVYNwoU8uMxsdVS2GE4+P8/q3y1cKYeG3JVqmjwSyvM1UXSQg4xp7UfEb+LQbvyqJBCqgW+aORFs36BTNW/jccIeYCwnUTR+fUM1DagwAQkbnHawjdRJMDsPTKrut569DuChcO+lzYXvg/VIhPa3IfwnoyxBqmPjqSdOdP7yxjEqVffbPPSWfxoLjDia0D6/uu7ZJ0Oeq63/2n6iNhV9iFALcoVw58lhC/oYrUZIFFyoxP6rTekwlfvUEU3mRgX/U0/GL7DGPSTDlziPy78zCseLvFl9IWTEDC++gLzIHHAVUd5PdwjxDsuUwliklfKAkyVdEcl2DUiYfZf/HETP/Hnc8K8CBO7eqHsv3+0/n7gQpG+OHTJ4S3+QogSwON5j2I+HI+cTFMVNBkib946aNWkLMXqUQz1j9VkDWBUYh2RuUspvdShZrFH/EwKxl14sLgQ7IHfqhRYS0m8aYeC0kvUGNrFse03HsY0mKmwxBSISjr3vAZzM1VYkKBFaYD3YeM/1QjNkmqMoHWYsH7wcmSRi/Srz7vJrwXW2pMg4MtnUtY5FyJFbLcstkIKyvHlazPuctuYOxiB8/8ic/6CJoVWFSj2XIu+ZuxebfPCWOyQeRcDwaB2tw1CToGcbY7V/k8wFftriz3MwGBpuWt3CQXS8hCCedgKPp6HQjoueATjQ33HlCdA2guMElh51fpUangxhM7oq5F4DghsROw+1ML8vHCWsNMLokbyTlPkb919V0J/JwM7FuEkIoCuO4ZagcKMtfZ8ERWYjJHhq7BjSFGGWa5uUs4mhoi+5XjSsoeort3N57AhkxRJFeXkoAu7s4zmMNI8VlfY2gklXfuNiMz/Cll2kS0CBOkGGx0An0Hny1F+ghGUvcbX1BaiswE9OmPA/MNVdhypFaoOLd51FcEzw+/FfGEebDOg1TgRJf7lIvoz8ivP/j4+hpVWqQrRzYys+e4BsQ1GxZmBom5AzGwX/4gAG2MGzizx4fggPBPdWbe0AXRU9xOqEZ/TIr672o1XJrq6q6pytrTd0tNeaPHVAz6//DhbELtsBmWKmqregI/h7mAYGWqGRdRKhzb0gzcMi3+VSltiZvbrCsEKT6xsnOV+/4u35mOvqfn1HX4IBNG1+l75Iy9QZSy//wsfPB/I5K5AvxVA/wazpY0iYU50K+or0WpYf6SQf7I4V4XoxBUUwB10CYuaxlP480DUcpUMf0ETJh7ok5Syt0jGpwlHIHhsS9S6Im/II96/10wA7yXtCpA+Ed3xV7O7mJXWhRtLRF4BgsrNdyojRrUbkg0yASZC/gnS9f61wVSM5CAplGwwH7as0n6daGN+zah9QbxYCiX2XwGr5C1HP7WN56O/iKZf0Nj12elb2x1s+WVQpDFUhcT4+NdvMVc5NtirZAybxH9Nz4EFOKJoIYXAiUON/OWywqOuufodHRRapJVvxqjJOkZrxWk+ZcXrCtgfoa5K7P2IZh3y8ROX3vrKnvNODx1onbtEQIVdFr8faBpmelqQw6p2sh/g38s4ezg6QTOgAFE5SC+EXFFQhaehfHcoRDOegJNNAHXl/wDf8/c5XcISzuIgKzmyn0s6J1Sm3HXmJ9dOSKPvw9iFinwq3/nb0+EbIPqd8HsukKtNFL7glJP9TgGKhBAQSl7Uaw7D5nQiQaMciuyqjX8die5R7Zcirl87kITdIZ5FJzd6GfgJbbRfgAJgpG+AxxiYIN4D6ZDFG7yuc9xFEt+KZ6g5e+WspU5Bh2UiiegpLa001USuJpF/6qs3qfD+0ufjKXnGhC/+8W1BWZ3mMi6lO3voY8qmHv6JGIxY7fyNrSFSx5ZsVdeYotSOJSW70Mgtlf8l8ijM/RTcZXfg8ibjiBsIalN2SutW93WG8viob6xo3SFGGzTL+d2lXPFuPwQ02akalYa8iW4crmxPCzsjkIEo0HcEw+hRnxPLeXGzQtSOZrGK1f1l0vgyVEM8YdXrW8RQqKMdxggyyK2TRSCzijgWaOZRL+oVWVUs1OBi21f9loaCFFP4zmmS38YxyipIs1EW9dBmjQKfnDQMWQKi0j0+jQGYrPDvDLtRzhOHhW+JWNbWeOwAQ8l2xfV8vUOs+Ob1z91j17FVvFeDRgzJ1o8dxeNAzHzC5znV3gqMioSR3NFWTJKktrcmsVNQjsHDh2Gg425e0x3Fx6DJrQLMPMWxsFRr8XGOwNB4Mz13OifON0+g8XH/8lOn8jKaTinQaxpcfx1wneuttOpVt0HBvGIF2XHocTuOHtXoDIJRa3X38FfB6d83MIF/RuC2UvlXaK7SrWZNZLlTkbvEBIAzM1X9UnO2UJt/mpZSe8O+bqU4YljvUG+yZGOP+VwVoTIQ5Sq5k1Bs4pfJ5/snL94c85amQGQ55KDXElCCWIioP6zA/W52yRXFvBeWkmH3zCZJKn3jaYN9L1P5yZ8H0pF4FEyE+Vzt26NAzW1JCaV6cPw6ac4VjSEqNY9uJgsUnXrmxP5t6biDFq9lfNTwgYa2j+xRa3ZSW/0HQhkjrrlS8IxHBnS2/ar1X7GXNInlcdcu+Molm+zuvg+pfv0c/ivLFFVMJqmrZr1AjdyFQdGKrvqw0jbJI7qFpCLDYn9untBu8xkK6b93RXKm6lcL4eafWcvStTzyp6byaztTMhbhU/xztk0/dfcG9YJnsTe4Vq7m2ayHS1GKVe9RmTNRAxjVaItCcERcB0pO9XlGvlEtVcQnYCbT1X9V5bitTrrRlh7b1zHLmx4yeigH4HRJYmdXcUzWApaeyMeaaE3Q5EgI80SJLe6iCjbjiZbiDHB4/jxELJadAoJiVZH5DMCc1x0RQLdNq1B2th1ToxwIHhjI/JCQyraLwamTm1mP/CSVkvw02vv+FR/xXd8ydkRxx2oWcEZWSAG83WPPVD32bSRkpjIwM3CnAryYGf69jIrGoIJb9NTgOCpQ+OWpa49dp3Ts4JWD928W2kiYdyn8nIuGfcFcHdDHU+ORiIl4ZvIj5mDW9Tp7iu/uLMqCZeLrWe8oVLkWewvDguwXA/SrUGGAlVS72ru9agoeByIGqhRSD7hmR/KlXyIt6CQGznPAN60rV3IUNh7fOl5A9YaZBncICCCiIXeaB0fFY00yQGEfA++KlWktq1w5Giy00gaXFA191hdKaolnphR35jXCISIBj9kvk0ztDZ7D/ET1Z55BvgwFxF7pqdVoZmKK61F/nPaE+VuCHK0eTGHhbV3Zm18pLDXG7ptJF2Jr810r2CDJKwV3qBtNqB2F+yqfgDiDSYInxJhBt8YF3cj6sg53QDhGNfwKJLSGhnHr3JdglyPbop3FrMySXCOnHWADJO/qC3+HMixPtucnMHZN2dKQ5tvshnJxBaMdFrZwzES5gkYqwk4N/uypqUEqNMgdyKwJK1s+wpT+2rXWuZ59rlNwcvRtXEzbHVRQwScWBM8r/K1ucDhM+LGfm+d1vvNMRRIBfOawimRRO5zIP1KwT/HmmnUed3cSB+DkCxpD1DW1pj/5xzWV0vK8tGCHJkwtSY2Fd4UihXf6F7cTj0fXjwCwYa9r3AxBRfUB8xx5x4wOxIQMAC2MsOsDhvc44ofw9B7VkPbtZy0RPLVe2FSvgjqVUDGc3ta+PUDjuSWkSvAyQw6IZpSSkcj+FSzlJ8SDT9YmyN9fHYMZClC5rJup2uhDTRkyWsC/FT4JkZ06eRUTClkxpaeqom844b6Hp6DORBNoZAzhku/AR+SOYgn0wX9h8ElZ207YY1z92kcOkhfmWPcf/pKHlNwzL6GTXCyMIoVKSArKzrwq1ydw87uaV+Oe+Oy4o7JMd1x01o2oJ2oSEfQFyEQQwRpcWQ5JoN35o4YP2kANR1a5+0g0vNopZYgzOgFQIioc54VYWmFFb5ALZBmofP5oHxRhnRqA2LYpr1jIohhhEqRlf5Xo/rXMCicdIzvFJHpvZQAva5qPnlCkzaVn4dkjduWx5N71vWKG6mpu6S8MWBO8J0KdPqOm9fq7UWO3lYQ8Zmpp8HZSENdzdW+TveIjlZJ5Eb+LTUjTyYLiM5oQgBbh93Zji4PHKdz7DQAjB2LLy7qd+5Sd2e7KhoneEUn+Qh76nteg9cJSxUTIUD87GMPCAIrgPTjtjL9oTBdOJgkevPCpkzXJZmI4djaERqOmVOwHDiXLmINjNjYXfExIZudFx5feIcX9suyWH8yhVR9YUVYDeUGUZrGcF0uW1f9tYwcAO40ppyMZ+XSTbDEwaCuY4HjTZbMCG1UcE/+t8gji9C4OUvLrWqXHwfijXXkxGmurwaM3GcEc/seUF9v8wcQtLtOXqAFVmy3LefhduwEJc7guMEEeCbaDNf8urq0Lk0gJ7VKDcLUPilvcFQIi5ucxasRsrCdz0mG10GNC/7pYJ5LEXXiD0y6r0lucGHTNoIAI6p6tOVJbu26pXkiACMq+r0JjgCMJpxYT9vssw2xcHHTVb6nYrEVxEFzQBWE1JuwM385MQp0QQ+R1gflb1duzxf48XXd+lIHy4wX07EJc17s/7AmT4iMsomSjLd+UDfgITRl2C7DbFerONMcLb0EvT7HTBC50CfF9R9S53sGM2DlnqY4EgqmfL8lP6nibjYvq93UdAvCWFBt8UuZHpaPVUUcnYOF89SKTRUPuxWpXx3PpSP7/F0GGS2KojtYMLD2BuMHb+glDF1ByUz9g+y82H3QplRO9vV6go4OjT9PKfiA+iS799IDYXkPBPFCEUKq1svcrhid+EGjGuccNOCs12vK+F2EJtfjBz6v+25ACS8tGAOlanUjNMB00hSgVyW3ATisF+rtyGpAxaBYaIE6SQA7R8WJl8mb4NF7o7mirtY2ngzA0ECGhk+Qi8HrubizqbK9kNkh1kliyOjDozum0ymLnw+Ogm3f7gobflNU5zh1C9fb96FEuPrwssPE2OZXtr6tuDuL9k6mOpWuLx6CjW0KcPtoeej5hWOOoN5B+HMEjdcYx8KRaNEDi0o8VAhCzZkQ+OWByxsD0jRBqm3eCGaKWs71naW3Tpn2EZqBu5HWz40PFXDIk/AWSRsupvtX/7mAPR9iEzIA1iTI8obn8ty33O8m2CI6/3RK9leYVOFp5SFoh5bxbCebrtdIzRtCvEG3VuB1UPAn1u2sUYOEMAVdM9V/nclGBNdvtQ7b0OUnydTvpt9V3lpKNRPqItd95RRfzRh4FG9ghnb5GA0+lww29vB8dILwI58JHM4oBIa0t2FYuEFqX1Jb1GKMetO5RXHL6TK40cNEnHfIi1shfJJ7gKVWlVRB/kBgbLkracSOjQMSnArCFQQJxjLCrIzocoN0O1LselX7FGrSXeeG/iEBKyOaXa3yGs+MH7sNvV+/cAqmm5aPR4OcBgB9nfFkQ1eeMfJu2FO2Ajr+2eaTds4SNNDijVJ5IMpoumNV4WLerBVNEghqts4wEw7rHzdv/HX0f0VI9OEHuqn2bV6BqNOcjAN2LO/VE1i43ICNTwr/V6ExXgqeMRQ/HCoeGPq0oIfGg+3X6TAa1a6NG/GoLUhAQppzld/jcQA3qLokyd1DC7XILWnknweSnwElz9YfDaEmDCdxYer36gUvKRlLIbQA07CsUAr6ubJNjSWOUKI+Q97QI2VYsmzAvjOfr/uyXoUHvwerSn6+zms8ApAPNPGtxGJa0+nXhC9p0OdpZtAheq4CktFVFcHamPoXPUEn1l0PHDl0yPgIbOqQsEew30VfCFZ0y5IdoQr5/EeL2qNqfaAc9e1wvj8xqWy0FMovkOeyTIpOU13fatk68DxG7IWDXNZSOD4IxtwpF8bpQo4/OqaCxcxLsqtwfb5/fYHa18L0I4b2KvHPx4IFYuZLd4p5mKfaxnfEiiJrFEQSvV3nV2tZqlI/EFDj6jcuLKphFnZMj79yXdTxrMrHgBaoCAtn7bKrWdaefzjo5rdUQ82b2Tc+LHLBqEfJyyOkKqgwdsoxXX7gA5I1IpnruybwwZLab8oWEh4Zaju2N/TeXKcZJUHjf4smTO0D7YKRmz5n3fwI9TrTwjEhUiGFXD6P8OWFFuLv/5mQO+TYXaPlhmnfKpggAjShup5qLZcO70mTaFlkbUhO8JxGe3dgJam/KoVza3L/AB6ZulRFgfxz2QqYkcHt415zwQaTAuwP9kZiaEgHnS9jhZLua+e0AYP4SrtLlwwrAD1qCfujV9dPq8IuimUJVF+8y7q49toCyUXwZXtmYonTBbneFluIHIAUQeB+GYxEZYF8ymqUUHKFpfpzNc2k6VJbaJVWDxg/5XTX8eYF29Av3YS+zPMXKWQ8wK+iEdGmaNyp2ucTgYX5lY9rifDhCFm0HBCKTi2uZFJv8mrnyFNVaz8BTeK6+1vMjaLVO+Xxs6+WhdkNZsNaHn/u0HqsEpYsePQVUbahjaEAvRUtROikwYOQpzuM7Qm5CPkkj6BlvjHpMNlVLILjoDpTHOoGphkPNBh64oH8QdJ+4LVjWwhU/6rClTgl9dMtDgGt2o8Ts5s9NnSVuDCNNUFrvfA7X0JAHkJ6HkQkIBXSQ1/N7mwiFvKrMdJqCbNLrEWxZYQ/tftglAmvqKI5FF5Vqp9WE31BeEd+YoF/aU6ahDX7eNhajCWatyhCoE0Kw6G2kLoXVQ0H/1c0u24GYfD4w0/lZlm12Na/RevZST+l1MkN9OZCDEvUsCcZwFwro5qosj8RHM4A1BC5N3SP3acyrKAk6TLiQmuM5Ez48PdeMEO9u2tDHzqwu66+no9NfWy9dPoboCZDqYrWpPZaFyGM8xa5Fw4wkOhKjjpaH2UK4A1kg3r0cgLeKdKbf/rAl/K4KHKYcZgk/fYyYhOGIRHS5J2FkCmBvUaV2X3fYRTV+sL7cQSJ8HWyhwU3AErfGepfvCsMFxz2Y5GSGzOK/8k5lSmFoMDi60WfsDnn3FZXVR4HpH6WqPIC6oc8BXGLHFGBPlhSvyG2e/PS6FX2TpZ1p432KkYzv7U9nUX27AfCzJmoiw5GTPKgMz9JUr0pst3ZtkoETAZB7WTAOdeAxG7OQA9KJTaB8K96r6S9k64KlQaPzhqsLupbJW7Jp20UozSxfN0OD59BCYAuDOaHjoAF+COUnIrwGF/XobiW+9/GzR1sxEqlDW57pWbD3M5aeQ+RRsFJTqfCyhnhp6uhZdJYg2Ztq/FBv7jtHVIPO+5YS16cDA1JNgy/BdGjp360CWBDLoJJgN2iVAleWtxaMCmFhwV1hd2kpvXXmeaJ58TvWivXuMe9hjd9lldPNR2g0Zl2SdtgC5Tf30OglUt7n48Cwy/lcyyaz/YoVxHJjL0UlsuuiP3BZ1iaA2B4lQYxdxheL0BbbCxGQcKrb3HswW0gesKnv6e8IpNdZW2oDCYde/v+v1aXUcY4Vth0VUrfe3axBv+h6q1xvjihnAN0H8jk0fw4Vtxyv44fO1MObPAffwad6I4IoLflonIG4feXctTMgNgCtUeHZrQH6KDRTgs7+yGJ/lz1dudhayfMJDbERog0NyWXi7mzlWWgXD52eMqnoGCVjQR9+n+8Y9eF6YCNxAzX6GVSIVZ061anF6SScnTyGFXv+MrIciglB0ANu46LC5Sa6LqlF8pOD0mx3EXNTFMTFbVviWZFkPEeF7AaPktxi1Tv4OGVsnilf2eEeRtMnpR1SqW/vX+wPxqNrvWf3HiWZSK3+u5h73HUlTMvUvQvvc0pmoFDCvOCPN4uHNHQlBIns/36NhJjVO7QCxpWGy3WRelnY8FCcHhh24n+93kW1TQolF923NKFBUBJCcqa9LqtMeLjHekQO6BVxY+2ovkRVR1fGChLYMdqyQXgTv8i+fOdU+Ya7RU8JMb7psTOYWsYRmTFoRiD4aWYinQGyCJ2VJX9rhACMaNYerr7q1uZAjVKhtkbFvtPX6Wel8iDnPZDFeHXm9tlZjGBL2lva4MjITphQqdlAeBD6db7ECDlYfRItu7G/0KZwM0zkf4mW/qvegqUDTROeIjurFe6SLbXB1+6/zsHkxaPmD175LqyI3Lc/xji206Ic3bv0niZxgyzDuO/msCcsWbUNFR9llTs+VyZD3ErSPi/iEs8V4HEjie3mUBBOSqhbEOBxjPU9iTo3MlNRESzulx6+mZGRgV7e8LbeNK8ztGAD+9dpP01AFoyZmpxqICgbSogRDvXGLDuhvjvrodcyTQbp6AqYDfE/2FSldag9IbLQ+borNEfZrwuZiJk8jr+ttoCakwphpPAc2OtOOgYud5sCQw/be72dRvGPzsiirps4tkvixmlKJtLU6C8ITYuGtlVMIJEgmTAPuBzp5s12gaVLScy1zdOCahiOywPR5RpzM7dhvylBNtowP5YX/pfHymbocOxgIu7tmNeGwpa2cWXfEAMB1ZfrfG2zY+UMSjnmQ6gr4tgp6Ky/CXBRRAA3sTGFyIeyGxXCoMZQrCSkpg2mpM45QipmMVA5hOcwwGYcYdxUm/lDNw9WrrB1mUW7aC3rBz1dO8WdYyPlMJ3pBuUPRNWPkePW6xUplQTNVWnzueQqCpgiA5TX7ydW31I1raR69BkjgpTT8ryllpXpCf82SwCawMFx9PILznGwo82B1HdKgxfz9e2sgLu8UICfjYUQsHXpOMk7H4lRw/seIdPt/1Wb5ehUKxHZShe6Nj7ryfnjQbVyi4KbbReF7C+bpEujicxb4MmMyvI1lxIk3gZGlWRyNob55l2ZS+x5uWQPyp4LuFGSUXcg10Gq1bUOQkPgihUMpQdrR/izxM+mBT8L/n7bPL8JDxvCuobqIRsTgvABGpGXjIcbDEaU102BbMLkGfPp0s1F8x9IC1jzwAluLyBLZl4+AVwUmEbXUNMG4z94fxmyAPaeyjlCURZmuFxnkHiEhX+Hlc0Mm9AYh+gp1VvonrhkmRsO3TJ6CipSNp9uvjauiZfe3Ei+PmzYJX7tPAWSn6TvfriqJWiaEm0ZSXv2y4m031umlwPGaNFa6yR3PKY9T65NduobZ1arHrxRZsKzft6gw7/qU8rnAeSBPWPCwbQsPSIAc/Z3pigA+cUA+ffBst+DBjZNcW/7H/xt7Gi9QsHFOda99VD13YJ/+XECLZ13NStRoRKYiID8JRiX+t6oclQC2GiAepN316aaRlK2FTv7E/Wg53YrSvrYb9O2kHt2peCYSmz/RiNc9KSWXeT5wBZ59zZIi/BObaXmEz/gtp/P2euPJhpjFmEyBK6F/fjkdZbl/Mw4rrKiF9UVNQ63jCUGhq0qs+9NX8+5IZN+nV/7MVcrOsK4KJzED4vxbo+wV7HU5PPtMla4nfMAqTpX3NqSnN0paJEHnDgUBhx/AtwXqDEeQklFtPiu1/w1Yhgbez8pxpsReVOl9fNoSnaf8Y9QHKpNYP+sU1ZChPn5ZoB0cSV1GiD4lg9hLynmTTwniaW8G2NWEWR49Cn6VfFbyC2MlbQieOnKpsfWHIh2kMZOxzJUl4qBLDl1i0DzqrtMxOCu5q0in+8AeIqv/kqZXL96GLAe6SW68qS7uZwbrXs7UY/py153YI/ge1pvvatO1nkOOqwvjIPQ49I9OAmfa27Jy6sZmmKP6mcKxfam91x7emeD0+g7AJMjwxx0NCluuCbbcBHO6IpwFx/wWcf2L4JHxDDUEI81EJnLk6nqtMvBetFVZE3V55h7/32giM+8TUVYGBYsvJXJuosxO2VxsRU3+dxVLfBkVE0J0rHUHgi5F7B47e37pQUZO04T4m1U52Ox6r3w6UKnf3JefL4GDZlxhME6Ql25pGiSbbF+BU9/C9M8Rs7/AVSnO9m7y7iJ+ib/ptJjbWCXcsB+DmY3fQwtvqehN55uWJX/3OzwBFQloseOcN7kXsp5VtJVq7qV4a7uZoFNhDkD5Kw+zxOvmmQt82V+Vr1H7NVp/2gjC3S0vjjN3gWN6QY+B40QhSb4R6Li8GmAlK+9ITfrV19aLeMuyZxTGBXap73E3m3WXyQwtqLq6r5rHvp6N52o2W1/Yatu8DEKaV747mEnaGygtYqwyoKyrrb5CWFOgdUC3vXKo8T4j4SpZWYAmNgQkO09Pv+WlE5C8ykXHGC2F/TVcnA7DoKoPS9IdidZ4y5m2DHP3y/wqxSR8bxXDwxp9gq1iampiP1ZuLLbydvykNwF906LEQkRClvemUjx106fQbV7Mwxh/ZUu2KeotKV8ttWIAOwYLcboeumfuYVPgHjPOKwfaqIYox5bDvg0c2c475hdfWTzDbHiMZ3u2Zdy7Pmk7fCwSHLb2CG0W3KURD+dmzp12eAfh3mTGDaMCUYii9t5EMkylsjE2WQbxdfM+W2Wk/bzyktE3gY64rYcJL7EFJtkd7IcX3GE2UyvXY4OudlZRoyPY6WPc0huBVHe991ONXwC6pWTgPFnZJ1xYBr0+Be3uIO8GTFjYPfO2Y4mSAC72Cq1XtY/7oU004lCrWf7Abv1Fviqg65AzHEd6qJlwN9Lsj2F6gj17k/e8csA8+9ZLbqKG7lPRYp1WR+/QGp0ngrZ1q7da0sF0I6PGKDjdZJbvhlxm2W+eh7AowpRBU/39blgdl8I7WYAi36bTUe6hq4jbvzHyCzsmwa1N+aOcf85w29u1nts8NQhpzyCK2elOutuQ/L+nVTPnaisiRPrref3dlek+MFuOtkZOhtRhBQ0zrtKjDBwKn16H3p5kEQeY33c/ERzqeQlamGaW9IUWtuB6BWaXw3IGBI67YAXyJt+4xn4D63wwtj0aSZV3fMkXkHQ2c9cKavVGRCd4tdxajr1HK0VsAHpwaVl8TtNioMQyhGsSqiAdiutqdFNX0Hc0KPHManEXXYlKxH0uHSvFCQR9aSFRZZpXBov4scqqNu6qTrroUbTE8FbjPWnqvFq9qAjAAezDQxFMgq1fknmX8i4jUkrjDEX67gyIETRo1lba2A7Ompjg/1R94fP+t/mF4ZklCzTUNESlYhTPq58CYBBK4tFgpYt7Cj5b6tb98UcRLKnMOaJ/a3067nbY9pg1HXvbbp2imws3A+anaAucm5gBWboJqEqYwTt7ZMp5BaPWKCDY7gahSOMwOCtvyXcdR3R4esnr7vanljAfqtkCAM17SzMQDf2OQdqs/RfwPrO3HeUrPEbDJ4rEcLaEvMuIFgs5eUuJ5BjltKHD3KkpdYGEY0zZcAkssKo/9gfdfW598XQ1A/zj1ijmzTuv3uqP7Pwxqx2DMX65MQGYVbljMmS+bLiwF2ZKPYVtw0QDxVu4P/w5zSWQBars74f81wWXkGtwbXCkgKGACN/6HpVdE1FLuChnQutJ2r/LMenMk/AzouYQXEheB8Eoy8oppedhM5LlvA4rj3NwNKh/yka9ZdZdO4fSkRZrE55gXFe3gPtySmP58BxR7oATBULj2gMxdmRknqgMS5BXgYxoIWFjbJSA4WWwZDBXimXhQNODoMblX1z7LaS1QVDQAwRtd91omV+sEGe43jSXkcCr/pSYhc5PYMjCAPa7J3mZRwi001o3FQbJJS4b1LI7QoKJqj9GRjjgDVSrsemCMktIyqJaRTZBUgVtUVYt74bJFtKOQXQ6QVEu9Wb1CsuXDbKa1SPIhFwJNosmG2A1CQr5AHpNV0rcHfSYqfdKCBsLxeMWwPmnHxeD/lCBP0vv8RCMRgWhbKcH1TeQRb2tKmtar8M5GyTRCFC+sMxJ1Xgy4EoLxO7FXXJij39ehNcts6TGiGKu3Rm+Jkr7n6VyRQIBnflUXF4rjMf0GtrIiu+4mjfa5AuAz0zWs97+O1Tz3S/cdrbyEFV/9kfmKi8sKZhrtFAiMuNncCQf5pRlE31HGzSBWISj2LUOH8ioSOGF7q5Usa4vhx3xGZLDtIwij3W1Uoub4AS22iIbuayqRLkipIcd3ZcJsSxAmxZWKdsHpZ2xEGzIVJtuEQlBNJGUMAhR22IvSnjQ0rAN3gyD7c+9HgY/UqJxPIfLEnVoN66/XWvf4yZjzEwOOyDl80L10UmfJMvDhIxhkhgK99rPvo4XL4i+XoKaaqW/gUwLRDVaFFyUtBUTOVL2wBZaLplL0vMTMioyDvHw51E7R+lGSwcWtu84MD9Dsgk8nh0+vVcEeq0BzGd6n6wPOqtUL8EWeIMD4EwYFnXso1XirOyD5es5V2U5E6aLFnIPH/b/mMk6WasjiCIlW4DVLVXK4WEv1rOkI5g42ODSKbxaQWm3Lz/aNoFf7aXJQufJ2QS9VHKy0ArjPd3e+kNZYfUxWno7KG4rvrUJSXR+YR8n3EtHXBB40IuDQ2VoMtCZtbme6nhr+OHvvGgGieBfYLYN4mCLprOZymC7kl2BhIlG/i8rIQ5X41C+reJj7ajWVYM1v8OWJtUknFHq3UA3PpFYX4SmeqhDC7qojPmuUaI5FSaGqeDtpajht40rwyOQDLKVoQ9JjZROT2FplR8yVAJXsJaHf6NdJzGR5QonnjRa5/oU9mBKd0ACQM6Vhdo+z/ldm0wAQDPpQE/xfzBr/WD3Ybu/02h+hFpkHWXdbbW3GwJ4Qdhe4xx8g8u2B2Xunl4e+65cKlLHv9B/REeklBMwNj4NEv8a4Xfr1IOF9xAzobB/8awqLOcAZlovtUoU+Xvn2hmIzSWPywVGbXgu1pwFsfjFyTsFWoTixoGW8FrGRbc5K7il7vBQfUUUbIHxyFqGADBwKUjPtnZe/6rY36L+A7U099KCcxH42u5ZEQsWwRSOcTKC9BUtMxH4lkvHP+/DUCeoKlcW9E4iKH/3ypK3UoFUh6amcpRSFm5T8VBJyGCDSrkuUHGFr1L2VR81V3s4lZHnADPE6t4KdaKpRFfB88K1zvWmG+ts/55i6wCeRAHXai38gp6WlIHeR74hdmfDJqiq36nRlmswQkTFfLPT13J0l/71RFJDBFsqJFaU2hpG7tuWT+FZN2Gipv5fnRMWePqFAgz/EbBlU0fsXo0v6v1dUaOCkNrGcDqP2Hc3Z9CYbN4n3sMBrTYvb3eEKKrcGTHVz0Y5wiM5CzT+5AAWMDCW2OtzE8uMbY2mM5U8nnSJGphb4tU3dIXxxcNKUxa370ZqwvXT0mEjzUeHREA6D8cAN+9dLRmp6ALCRXBTeLObpzPPYtn08kEhWSD6VhD5G8mDGiJxNmaaOs9rMg+suM2M5cIauZzPXZfWupQy2wgque7eV7YRecf2q5ydHBLWkX1W2GAz515ZXAAFqtRXNI9HDkpkDPcyHOw9YwOjiF0wKcgGrE0BA1NhGM+aSDq4QnnO8wI/C4pHrqf334hIIyqLW1VzwUKnVUj6bcSPfOA7b3+3Ezy4hLCuHR5pBK45juHfFxTQ5h/eawmy18vaMACSZSUCrRslQXyuUB2kJo3d0YEbRvdV6FkAituVNiBQaLMrj2+WmymcgFXIWssF0H39XrMDPd2snyy7kHucuLhD9OtHQOFNoYcX6qqNpDgNVy+Q69egXZmxAw5In1Fk3mQBVCDmxcnVCP0g0t6cliryBOwhgIXT//ObQyk18ONM6805alZNBqyh155DnNTRTASeW2jUugnTKNlIYpSV1s/k/z4JTYCxhl4g4Fn3FAVCjx4AhoFfdEkzfHNtSgKYq+Ru59GyiCLceRrFIpB1N+rETScJqDtnJanIui9fl9AZ1LJSBMC2kBOsaEPBilZDJ5Uo+CLNwau+rWnBKt5HoMjtU4HhBZ1Oefp2RjC0FKI3i58JQF3VOEUQv5SqVxGIadgjWgW6E3bC+lnwX2SPSPJi15KgMyqchcO/CI2kO/0wIfV7K/f54vphadIbUxNh6rz05IBeu7vWm8lzAWPIvhU2wlhRj+C/53nQ0yX2Yyq7ScAopE6M9N0BSoraV+4GQbTuEUn7IdTGWsq/q44o7eiNEzZNPR8qG027BSW2njDVhOOg3tvNuVAE2D/XJ0sa24JKx1vrjH/e7Q/7zGQ4P6q8x1y7Oakr6o2/M6xwp29PcRHRgSlv1dgvezX7JQIjzknT24GcCro6gn9KsCDROMOe7O7pEDyRV/Ymc2x6vlQIDzALzdRm44tv2yh1Fd70W+6nNWMfGyk9roprdN0+7K8w2vq4D1FzkAxk7sfvFSy/sIukXADYpKYt8+LBS9y+dDsmiNeMT5NGa2ke/iVeIKEQav0HGdBTa9s6iFWrJiaPK50QnHW5pc+Klwpf/RPhmVGsu9LT/6yMfUV+Nw9T8wg83Xxex11f0zMu0KA61QOiUeol1lk4Kvj2DHr2o5nnUcDOmYVAYDZl++7DX0PRzZ/Zj8ja1xdV9Bzk2T0++cXugI3WfV5smgjl/t0u1Yaw3Vmn8ejiK+kAuR+9guTqjyETb6O7UDesdhYkY+SUfmMJRhzUl4cw3SrFmXfU9UyHowr2uK8JARn/dfqzzpF2sWf4x5REtP5XFXKMBGX5UMEl2IvXH1vFOVWqsy/HNFVKtWrRdX3ENjlua0ZWM9QGQs4jg+TCGDtzaC8fqSD2h4dT0Qw/yjEDFApKDkLXW8oL8DS/NtWQjPexpp+x8rPaI8l/NWCkIk5b7aB1gjR8jK7HCCe+woRtJiFH1UOLQI7oYSdgqufnwla+U7QF/iVMskry4wQ5OyhnbGmSIO36YZhEDo9Zf5IowQnE90QmVdFCK63FxtiF1gMOQjqeZBt+QH1PB9T4BXrdE5U41U/NovG1U6BlLh883j2CjGNwv+GoiA67U0iD33Q6/Ld2gEbsr2E5O6w5kzENraPdQ8cSWg0H4LR1KBXa1FYDfUr/zB0Q8EPqz4o5rNTlvnJwgGABSOMAW3IXIPnqGGYjFv+uqG90eFjDzUxbMBOLZTy2KSBPc3DqRNqiciHIEG7pfNNe6mi0+RqL4hEqGEkfHsDv1lc7CddTVrys7gkHz1/Fz5wGF9FgaQSG6UxquuiRh1j4AA/0s31K/csCR1ty0xhmfglGjJXnj7+ey3VriBR5c4ffz0PFp4Indh2+UrlAmOC6iDqY+EJhiblVCh1QVT9HmMt5XoI9XlAGHAj2iwjccQjXci6wJ8eUOKK4ZEgaPqSJUBQc4f+G6z9hKv+YvnoLAPcT0V6/UtUa09MVGNUdeOLnwP8HEvz19dcmLgMoX8feTXRL/XdkIosaufOnw4vTbkcftPAARmEql13k6DfxfzgMe0i/7szp1NmaCai1sNdmhWsJW27vP4hrQJQZD4PtULBht2Qgj5mg0AJO0ukoKvQF+OxrQg4Untb0odtLRndNlUfKzWUs4kUSENb9ZCCWoqlYLGNDa+7TdignQzl3RCkhrJSAZ9g97zENVCOqQKUpygQbmBOCSyc3ez2+XMTuyCptPmUSa1apC11U3Jwqr/trDPUehotGHUQt8Es8Hh9nODU+nDs0pMHIjZfheO5tySX8as1+7zROxylPU2JGCsrZz2HlqR5F+HUSdM1CQppnRFguf4R/76GLF1E84HF+46WhR01s0RpVJb4MxEb8nluNsDrwFyvm4vOavn/Lsd60LPW3gxi2gjBIRpUg4q71kEOEIUiaEN5dZQbUVv05d6QvYdoteQGR9lnFC2vFnL3aLrMUEEibg6KAOKMQsSNgZ3CSAMbgDGZ/M0bw8OoZhCBpraDQGcQ88d6ZMao2kcwVctNt5jrO7IFnPYwcMMCvzhLK+oU+uTyPcz4XfmQlQQ13SsStsIyJ1zNsuSbW4wdae6cdpEBHyuY+m6I/dtKiSpSQQ5wvLu5tOIGa49+ZrAFflZzv3urbhXT6CQrPVn0bUE49j1V19fyuOVrxmcQHQQB3gdfIHdHy0LiWsFBE+yHDK3AFpB85bGXmpNODZVsRIjOSTRbvAOpi6Mv81TeNZ1NsAYfh4KnFLG1rHcz3vrvADE+rBDym69u2vSs08R0yGV+jLilBiH3EsUyVF/7Qtyd4uYeJTJ+RnH3qpn4jkcK1Sqo1TUksBxolikezZA98tTFVMFdiLRvsAxd23Om1jriUPrLT4lTvDpA3g5tNhLbGC8iVppn2+F3ciJw/b1rSEq5peTyXkE828fhK7TcblcqSiXwuPlk60x7YZeA/0SFbOUlUqqVJm8yNPynU6pCQZalo6YAlwd7UXmbWGZdvsdcLr0NtDl3uvJ/aiQ/8WcYorka0Txk9EOc+1Z6O3mGcX2H/XkgRl2WaoyM6zhmqzTKNz3NbqsQlEZ8HJQhFdKfu2dg4vd5D6BxaY2Dx++uoshECGEkUk9sewzZdeHRTJgyWdsdeZBriPewq93QywZeOTDIVh8XI5pRxZSXVxmR1j3qziQooZa+hCroUAWVmKXT0s2IOfhG+jfceHn/4i63UsSUrEwJ3ZWLyxpgibD0C4LvZRQRn7b/gyt526wfgGjGTsxGcbAIf3LrtmMXEYnj9yFu1cLeI+75Ub5dpFiHIAjHeqj9fXQBTcGirq3l/yOnsgCeETZJcKeRQKBobZroekD7Xdlk+KhPtU2vMTWaguyHiSOkQfZaSbYHBndZm8YJEKd47CsRHdOcOipOHXZRkVD9GGFFvAvbm8iJawGuc8zAoT/eXCPmgAosIgn56lVAKu058N6eZuT3dEdSNN4EJAP4dXSbUYhe8wSfsEHE5pjHyo0yi7TYoBHPbZT0NBbtvkoBtHYwZNWnT2EQ67kmawGeIe8A2UeDYU5DgRkKnR8/LnD9voLEHVndi6qu7nLNymDPVVn/S1PNz6JQTI3Z4aGUCUd6//graBTGcQzlZkN+w+6m5X5zLm26OzyOjFjoO0TufTbE610VbhMtCPSL6HY+7uveyhjTUAxERBTGPUjWLJ0K2SOzlnFOXzF1upNgClqWxTTN9ZwAxX9gFXv4N1HUI4TZqKCySnv6pQxv9HyRBJh6MOTmoC4bSaA22UmQR5ki0pD8/TvqxT4DEBb/qLSQDVwheOwTzsnI21v5eCbwiy3+E9FdfQI83poQGgdOkqUHR/VeEjd60rmGA+B2CoJHBPoC0/6i0LKsJrek60YaxrJuZhiGytWEE6JgGSqKlVXu4c6w8gzM0wKorKFTHO0M26OfLAo+H8YE7todRrxcAW2P7aEKzGuykT/mcaJd6g4eHrnJjxCetRcVtbRsj74NBzwfclS0tQf50vs4LTqnw9XbYaIhqcj37tCrffHKiAMr/Njq/1WgZyMeYYCv0eW1zaWQtTyNcq6S6Wt3tOfVtvl67xhesjulI7u97b/8YImukrn7OvKC3nTOlRpP6PNVZdYuzchbCcS1IHoaTe7FHvqjey8qZQttKDc174qvmQNNCvtXmpgFyZ02Ab8Ctwa8YhJn7I7QPcSlSE/esJKM493eGlG0hE7mfT4upuxWB7pxPdqwp4Q9zyHbVKxYnQWEK7KsCmPgJMZGgIQ7Gmt3mIHMSYneoFP+VoBUJVaUKwroVtkuZhbSqH5CqNJiTlblgK+szcs39x8dv2g+XjN23C2anVytyjwUcH27uY2KveOUNUxyPP2bHT/KSAOCR7Je4j+6v/ehfoM3zkaJVdCgjA5hz7GNRA4n1zBqYvI2Jp5N1OMNCTYNNDyh6Orz68LO+cJ/UYUYDvhvX32BULvtpLjUgj2/oEK3s5odeZ6x3n+a2aj8Cvwgf48t2O9NcEESUOKABYwIEL3XbiW4woimC7PYZ/RlanXmDqDQ2SNj6GqEKXAYMrTKNcpb2QsdMkNfb8cpp7Kn72BxRmQEgxwBsTOkkkke543jyfPGeO+zq3Lzk4UO5+SkJ0VAEccewTJ9ixpUgPu+qnSHfiU4wfGdNT8QoH5A6Z847pFGiBiKPZjIw11bXGNNzl2WbExbGoOxri9a02SL0u/i0VRwxKZDGoo517feU7X804xn/tAQZb8IuspIEdV9Mw6FSpseKyJKrEHasb3YwKm4crC76L4si3W6+14YUHSiPFtOVVIzk7LU1KDv2o4LO17ER5OQqYlveXR1wa1UKViWH2a/QjfDyN+LudiCNSP8Aiz2yx+p1L1bJUjC2rdX+OQgOcX9bFAvRUUhFES6KKkfMa9kWOIUu9yNXm7SMLfvwL/cgGsAs7eLmiKdDwYbIDCZSqw12dCTxIZaLas1noWCbmHMKzLBI0Nb4pVIqD0iVZM5z9uz7cy8csNIBe1Xn3W35Dgi8XPlJMnJE1Tgve9Y9cWO++yBJfstQwCU4CJUaRqYPHqWeTP+JKpiFEgo7rap15dW6Z2Z2HITqPqvJvg8P7hWPkxO5qvxNNDRzGcfGZPpnExpGrH87eykgMTQ0WTsz6Ympyndc0e2iRse8ukd7cMJFoKIXo4Fj7Oc5tX2uIG5s+rh3U4g2TWj70pr3ING4T+8uz59RjaHLeWga0TI1G1cfG3SrPUyGsQoC27cGb6k06IIs74iShMOqDhL9ZDaJ6ffMwOVyjGXR+3OiQ0juWMIaaxh8knEm63Dx14CTbzF4OxYi33lNsGXUxJ3YrQTqvXVh3Bh6619BaISH2pIJ9vo/fUza1nKnbtHBtF++vTe5dI1LlHm61TQkh2W6kAQ4CUgE8LfSqJ9cr5MGmb7RsEBw2eQNkN0Gj283ka4PXbRQuHqtURFGCMSJ2wkhEpxKNvVr5yQM2bbG1ZUxVOpn8drYEupCxeIH7TpSg+pk+iX+jrFwTV1WvAt3WHlLzIMmllmz4OMOz2it8M6DU7oCEfR1HdI1r9WE6b3cqpuzJIZrgw2TryRqpVI2r5ThydLAOjMuBFFSoADRunGEQZqeJAUTutd7Uq5Yg7j7a7MOUBjSi/PPp5vbtLq1h+4UJqwwZgisHEABbgtbpQhW7Abm+d2iliazz42xyk7OMxX/rPyq6dmajcADowE3xhCrDOWIk3pjEnvlROhhg0wNfEFMxcVOx8uL+laNFowPx9JwLjEZfbpXZGQK7/sx2p9xI6nneiG+6TnSy2TsoVo881V8MjSAgobbbQT9Ih3opoycnOUWzg69yUj6PXuISBT+dl5Lv5t4elYkncB9Aw0ZG6dOgx2JfceSYWtF3A/EmAiDYmo+TPBxAr7VC4DA3ZCbS2kw15Hyy2u9yfoLUKF/RYVc3qxjdbZaM5YYRZ+enEytm5g5N1BhY58siai+i9qVcVDir8o/ATN9Zm4uERYdL5CtBXE4Q2pA2CQkhs7n5Nv+3sxP/95mNMefdSpUg4pwltra93sj6KFUJNymzWbTz/zmly2t9VUE9Jj6KjVIvvs9ijkXgluDmsfYzMRZlp21Aqy9+nIRvA6B9ZoNOgdTgyKJhyiAQzaYkRiJ2gylyjn8DHdcp19LQeT7bId7gmOZByuaAjSgI2TsClGQ5HxlIdrXuM13Z1vH7hap7s/VNyjT5VxtU7Ny9hqmqsgOYMwTPkhc2h9GvXLifh37E4bnuOlMffqwtcQIkKmgiwCU26r7GPKCPQUGnbFko00jLHZqwRhHJEQkHop95+eBhVsymx4Cvb4zKbFPsz0y1ktpX6Jiy2r+pgYBTKAsqZEFITYk/bQRNHPLNDdzxsfLUa1NEM1ya2B62+O0CsfxHmNzoZTv7FtGzgIll43dsKmFFXfTbWPmMC61ZC37v16xcGOZBRK5pSNwkcAj3/s1jynJGwCfBvsu/9A6peZgw1eG7DSiWMHkdrzp+PDZ2EqoEPS5Z+LUfYg7KLewLhXKR1XhLCq8gJ3iGkBnXJaBKijiZ8dihxRGhG26PKCPbk4PDNu5mRYKa8YZZAgkW3dCbXFDQrEgaNJH6yqelAhtjQtE1E2qjWqAnjg1KMAcudJHGqntoa5r4XfKNjmvOv6JYo0x/DihIC50XRmPkYxICXzB44F/JrrZety5GOyWfeMgWvE8T2ckMU0UbUQhtST6uRguvclUqd7wOpBUE+N19vaKg9jHpixlwFmRL5tQ25/BfrmUes5PgbvVNZjkw9luGudMZ7OpoWTdXEEdcrh8dDbh/cyHq9QymJPzL6xm4zab+LrGmjKnDX5aPhOEL8IyzAzHIkkhp7w3SppasWcUwenMKLFrTdNtYGVMyw6KrNLAP/N6o+qVvqRdVvM48eGL+2wI7R35DU9PzOjzQqfRSjqxL26+Z8YuaaZ/RdBGgqXbPZBGcMlVen2e+UFgJrvEE6zKo/5ekbgURkil/VDI2uO4PujeTyXYuqs07aDQSZVk7BpHhVxavdXpSjW3dZFV1H5z73PhLCrhNhxJDdYkGGfa72mTJUBzNV/cOUrru3ZaBU1w5bBmwZIP0k7t2CN6vsTQz9iCpz+1xCyfY9lT3E0jAlQTJbE78POzYxmpfFrmTENK2FfhswnS2syQiJkLLvbC9RFFBBYReeNhB3DBU4/W8ywKPmO/WwD3VRs07kxN9Khotu1fCi1EGnV5C8hJo/YkobjZjmywKgPjixiNkgQnsBLxqf64TnMYFcwH234lUUmpe8W7u5WFKM4ku/8kt942nKzuokz7pvY0FENYrIDiUInDpY5WhgVu644qgpZOIHASBqKt88fN9Y4QBmRsaSnzBb5m2qEMzSogqGQyxG++J56vaPzZSFY6/MiSUo050CsFg5XLMVQGCzaySUlH32Ef9bKWrvOvcQWWaGPo6m0dDbd4QhTu2MZAoXQ6BEtVGp6h1s1roXp4xBTqVGDryQtibbBbBmWbo0Z++N915WxwzhVi0Ql9/BpfOiPS8b+4pDV76OkmCzevg9bCxyBekcDrIfbkxQdnD9Odjxt5rCs6EoyVmYMv6AMJ3a3W2lTbN2qkPIpfYBUqZC3F/qzRKo72SjEl0SqQL45+a3HoRDkBZWUTGfCZL5J0kaW7C92P1t5bLdJHtyuq3qss0okjFIL/SpPPh9Hofa1R+ARXM2fzhB3e98NgbKGROuhfo4WSpemN3jUu9Smi+6DB6beBsCALKkjeZVebblKUyXEblKd4xx9FpVdgXduPUZUYKdq2/8inhAisv+CEwmQzbQIHWrCdkH1F9ARgeDab6yUn+usUfEotGCxKLz6avL76nILBAUtxT2aO23LXmhXwYtWSYytQhXvDicO37KJM9PP/2x5aN4C4qWz7lmnesOXbPbUrNt6lAnCNEgUx5YEOg0C8g/UjLS7hUscR4+8xwJR8vG6av5eQvOP4Yyr63Y8/mdJNqnn6mfjJFWg19Z/5qulYbs3ATfotDUAci0lsZNO1Cqx1ladAZC/2gguljwo6IwJBE0A2UMjJaEW/zoL3VWXI3RBKi/wZLnoH3W7/e2/86Kov2C4y2hif8qNgz0sjPH9/9Sy7pbpQdtweNijdgjJ2qsEyGjTj3VkRU5iJgrfVf0LtejcHUKR1DFazwJNTxsD6ko9vI0vVUznZ+Bar/ooEgZIoHqySjDgbxFOH8fUnHMn8fVqmlktuMERDTGVqZdv5gAIaICz5JjsOvXqYTVTDAqygOeWAhImm9qQbYTPD3rvRNXVZoX3JhNiNd1PcW53Lzp+/ppSI+/U2YnzxO89AkY6P/HfhPj2pSYgPDfN3MnEdrEQHhDYMKoWPOUoKPQ8nJa0OoIIvaAp/jLpeSd8owXKentUSLuQZ7WhuD6U2Yt8Nugmn9fiZ26Gsx9b2FXq+9Lz0pE052wKFrIRA6b3tIHeMY6utcqmwaH2lmJ4YJhPZ3fVtH//gmoM+CZe8eV2o0sJ08enr0lp7cYtbYvBn8H4NuvUvassEcKvZ6DqNqNLcP6MAMq6zxE6pMUveMZovYIlNLBCTMEXs6DXAWfze9en0W2pWLbVghiVuzLWxsXUtcdBtoLFAAFk1wsDLiY3pyu1Ve80SL/FeGtrN/ntTkux44EK+9A5At0iv8CoOn9opq20pNZOQMTQKgIwnpv17Fv7O3baBNsSuAIkUcXJU5b+D20PCbscWSuDfmMQcuZq4iHAWaIHTQo3PxwXAWVOzQqgExh2DGxr21bhTaRYS/fLD8TT98pPOZHUUJJuJ7y0L5xU7RN0nC0Q3eRCR8u069mxHfGBa51YaJYcpCzZjcL6JLKyEeZZf+fwq5vHHFnQYjQgvhvW8B1jqo2ywguuhM3XAm6GFHTdIg97A0CQlh77MF8GKV4AI0CIqWK4uTAE/ElQ0sf7MG1rdAo2hndAguw2SNAt5btrnuOPqHS17rz5oDTz1hGIyFH7Qag5f6E0XrY5NE2w9s9ZT0zl0Vri0zFE41kg1XIYUlP+CH22LOEQ/TyvMICBeB0W4X/asVWR0xK8al/KLa3Oa7AIglOdiEO6RkNvOe+uVzb5fz82Z80UM1oSmV2aOqwEfJQOw/YS2mLWm5dsvXnkVCe5M7dUO5vP8iYZrwNsm0HBr733Dg6h/fRkJ4EQu5uQ2LIrlWrWp8yWZBsmRWRK1vavZBhhbD1rI3V2X/kMmfXub0pkmARRRprSDhgwriPnV/WoRWhctefjVfeP50mh3ZhlzHBdOVJ7U7yrybb8uQmBI63Nd5r3Cst2vtr/EyvWwD5CryZEr+6AdxS7gapJS/KOLqH0PYJjxWOnQXWVw9evc8+IM9KQ9qTTYLlzlJ2MHW5EQ5QCk9+B1lLFEtJTQfM+C80XDd+lkdcP2N/O9d/cRPApeu0GnR/bVGs3llEbLZVWL0As7weOEsieqksSxOacpV/GVNPSgLU0vTryss775mEX/Jwr13L4itsZxuPF39HJN7wJ0OxKVf/Qv6lG1gDoBBPHJhEcHXXI1mI2fNDCdxqKWcYei4ZoijlMgDukq92yywlxUy5YAnlRc1mlVyDpZR7JUeFL6ti8XBMnknVfvwRtmdI2wZrx9zy7ZAMBfvA6lq4Qnn0ym6u7hK9PLIeH1vF9RTBQw4Kc5V1PClkKRRxWKIY96ndloY8GEJWRlF9AUCtZ6nZ+Nw7F8qvYww8OkzoRkai1/waJmPyqaHhnjnUKgcEl5ttiUxmOvKi2zKYPAuv3vW6DvwE0B+FB7dzszcaGlOyS4YBejyW68abAl8r9I+ETD+1NNSHqRPDPp0okxraiJhjUnqV5s/7Ls2O8d2ajKBSke0o20ejNwXrmL4kQGnOh57obz0eMFwf60iIB3JDmuHhilFV4NDgSRgInfamB/nY9G4CoMyGIONbzJFb2kuEwGe53LfP2l1x+cLNG8czuzOuGF68UnLGpZTUYesadJwBisfGULobsp8TZEAxRsv1MRrBavE2kIW8HL84HzzhSpyM7hTgVCnNTO4IQrLl0bZo4JYL8KUhoc3PUnHRHoKmekhfi4+1DD7y8dRMx2TjxiREO3OYI5cn21Dh5d8PYo1fa3nq7IU33qy8PQ2TZ01frXhR9uq9BREU5nHIBXwsn8zIHT9kF1r+5kKUSIQ2bJi61nims+xM4wRO5+JYMnOHyGrhVUsMm9msFOBcrXLCINT7ZOUVY2Dvvx+oCPfSsxHThpC1DplrhMcfNvp+H31p3CbLZUNbD/9EkWTrkVzR4dcNVwCGM7+g6t2NvaD69taa5Wq1efy9f9v7TdzV/fweQGQiHp0QZF0Ts0NNCH3tmUpnWDl70v0eE6w4AS5mxzqvxYaIhGWiEUJYxE1SQOKiYHl1tY97IcjM7mR3rC1MJDXumqQ08fjoCF/v/8A7a04abiJh/gU276UYYf1np3UqPBRof6vTxaAOlnfXS1/3W4IHskHYgmZxehMrS3mIJzOSMX4JbYBc6G9yYKv6u7MQRGxL2ZgM++gn/1C7Tkc7WyOmFeLpYtuWAOXUDEHF/QdzdNwMuiljY2IguILePXVdqZap8tbFj3zxqn/dEpZ/xvT0IhHwn6BhFDSzwpb6l9hTwK45sZ8UG+ePFoTkteTzZFPcU7qAaUNJ/dq87/UtWSFlh3F5aL4f/I+AFDdlk67ZKIStIuhoTCXhIjMKlChEV8HDa0hoGXgnSbdugtFsFGAvxKNu22a6fcf1fmzEj+lbJYBcyECczQR91IIfzyBuXTQWzb0KC4wqyTCkuyXWeOMDWti0ULSNZnJZd5tAWsnpE/VEO+hMTr5AVCtZVAnRsg887wtgZA+t64DS2ZyStC73YX0s3hRo7g+G2SXe+Cr6mxsoodYlS/eR9niT46X0tJDxEJxO1SVogIJc7f7RufFP7lAT0v+iis++HnoUy42EeNPvraOxQxOT9K2i4o7CHdYMWVCdITCHs4ALiHasFA1D1dEuSwedj9avpsKg5lC5dJz6AJRrZ9boOGmfNNB05QQ8MFyYb6sCBZC9l/3wrHuvc9xQrVooS19DGuwQcTbezl7+XvgcVWUJXg02Dt9AwAAF+/P0WIHbl+D6TrNiBpUJlAaSgu0Y6AOOEAS4a24ICBMGiO91LMquRDzYbdvf47Dt/Qbwjfjf5jYHyvSqpEMnwU5kZlfwR/cny4bLq5kPBmYAF1Mn3Xp8Yfxbmr8jHIArVmfDvsYW7tKjDLtL987MXml3FwV0LwpAXcIhwyHqpkwOLwMVxAEZmaa7+3iWhFA63NiwXUsdlSUKuroiz4qYwJPFjqvshuuy5FROyOmWWLZzXbK/CQSwDvmqqrO0BruYQMiH16glecv+jzk4wHaGQvmATb9Pyc0Hjv83bXHflO2AoJfANDjc9C2pG/2NOhCXB0HkYw9nMkrhSjRyxCBcCg+CYQa10u0P8OqUQ4/B4Ro53c4qHLwTzXfVY4eS045leHhBmqdxowf9747a2SzIVCAkd/ihYiAbP6k5SqcQcPy57A3b0VfvrHGgJyh+qyEgCG/eyqOVJyJx3U1M42qpkdbA1sMLzcDr6LKU0Dyt51jiwaTKyoi4KRabuWAY73kiw1XzAX99igGjE/Wl0/99Nw8SWvx7Za8/kyk5rfHjw9ua/eHWgkzvrmp5pkU3ULQaXK+/7AE03NkpJv1Et+MEFaIoMH87mS9X4TveZAT7nQTzTD6a/Xg0AT9qhpjzP9kSyYd3t3/guIBGVCODHzjEjQXJmQj4jjizb4Prs1Wo/XUw8qrHtKtQp68Avv9UH9eyH4QxmDDNwcIBZ4hWPmW9Pfiz5mnAjdc1flLNXcB0ev2q2yzcnKBh5YtbgirY/OwS3YEf60jukGP1eCPrG40Ye6pdPWlrOa7u5Ta1n0YEuEIgBtMiRZvS8I6W3oJQi24DKFzb5ycUELpkyjG7J/Jtcf7PsNxAT9lHQ6GjSAQFc/2ENpSbcundxM08xJ+Evd0hjnNzk71P7uObALTICHDSKXzhShRu0kGSl3M2t7SnaL439xj7dxpxsNgvggIAdOCWthpu90I/V7XLbWsIoPV+Wd2VEOds38B3MLBeC6QauY34HZwoapxmO3N8nTm48AFE3T4fieMLu4b3a/11YLjMEz+vHyyegLeMTr1DNNwV3eydBJrgxal3XG7wnp4fqmB+STr4SdiMrCxk31fyTlrHgAFWtDzMGeYF2OeDlhW3rLoJKz/nc5Y8YUqSICytcxciXqHEgMLEO3o4dYP7Ep0upF+igeaWpcOMxTy1YrWwkEO6F2BcHWF8jwYv36q0OO0NlnvCnn53FQd27cZx+31riuoknGGheczT46IMBXQ1v96Eg19tp626+ZQuM5ZvkNoyvSbVM0nsAxl4JeAKdedE/PYH8HTlxQT1VROc6Th57aJS/Ode14V/c/KJWDl7sDmqvzz9BsiRLV7EY/FTXwY78mzEGHDkRHQOg9dNdoluuEgZtkB5psAQvEEsmng6vioXqE20qJ7cI6RgFUrmqTX/kfLelY/wKhGaJIO+bBw7cdj7q/vWcBEXMsLA7z0iECu84MPALNOEUuN5qvnyKC1hUv4NtfvVDOLlTbQq5jyfltvT8U9t4brWTW++E9vxaNs+cSrVgKspJQygdhcje+6ALWvpocQjeQcc99b3xpwEYpK4x23OcRbUbHFh6FrPMeNziQprsflbXevVfWtnLPECp5mYJ+jhBdxV/E8+ztiPFD08y2OjIkAbufUGVxBzRUvMxI2UbL/6cppBMhf3FMf3sV3H24R34fuS2+xpjHdibqwZIeXEnZjIKZ34hYkMYBMQwYeZ83t8wrNdlGuhDH8KRXlBUVMzvoowhHPIHatvo0Kdxva91yO1pPraOH8l9gKnMsrWWZ91oW8jQgw/llxJWq69WndiylnsAWTbff18mPfRzhmHkY2JRBuPA/MO48I8CUwyK/uTs7A/p4m0AsGw5kBVwhGIRrdkuOS31AtQRvNcou4az81kNdl41foJ/oowY8WOWV9O+vVWrtfdFdbcw2R1hWXEvoyj6S66NN3wPX+5tnJzhIahtEBD6XKZnGZ0oQCAWGgkmCG/O39FVrXOGQoELEWpcKEumhnoT8RJF9hXpubo1zrjr76qzsokwUD8TuVSJFl7lZpj/tcExAnT3PprH8Y48+EgY4wWoTC29QGO9zxThdHy1y61twA/9iyBcWmwzyLSV97V5CugQYe2S6cHgRygGlSbM4lf3eXDyF155JcwdO+uQsf1RlztVph4u2zGqluyOe+C3nTOqGJ3ZLKa0XUKJoZtSb0Vt74icin1MqvqXQr1NuR0KRz2YOXOPZmfdiay4ofc4pKXR89qVtqsx120WnRaMpmaTgxTIE23xxk5XSLhYYwVK69gr1bWCBatuau/VaUVsMWqNIgUl4Ncw8I6Y3FlXtIC0nNwfw/PPSs+NWY4+hJf8LMVSEQFvzWj3BpfBuVZlQSkdi+u8qSSSG5gqXBl3uI38cpQor0wCRarbHEP1u88gxFzuWJZQyDYk53/9KGnZsNfs4RJzU46UWZhhK6PfWizRi3cnvUd3Ia/N5LcJPp9vhZf2rGNdQm6JqK2PCcEwVryDmr7wjq9iEXO92JGP2UYZpiBz4jgCcPHxj1nF8iTbynpsWeLZnY1o1UW3S8MPJMMwEu8eTJRPi+CcaFhahEaXjX8Tau3OiDaYvuza6XDCL9NN0MWBzD+xKhDMY67nrfd7eRz8tx6MWL1QBUfSs3UXmUNJzNTWQkIE4V5if3OyBaF+06pFGJpfPGy3hnErblrW2S8hHJr2H2u6IBYleQOra4DldR/weK0ZZO4J2mGJUDmo1O8e2aM83Q6tX7z3ilsU8lRwKsens0Tbhq2Pbh63gjPPL0WgPFiubwNNJjRC+YzSrnwEXMI66QsKQGFpbioCl3iUiGdevhhE2L8C6Xa1bbOJokrLZAA+bmEsoaA6MIfva14R3oPxyBxKc2xFIXcKSZIPtEEm1GDW+eeqS0zdO9i4v2NNLk4UnZ3dokW2wmDb/+nv7UT56b0B10NzhzQIskLuCW+vpHLWJb3074jEs/F7td2pcKbfwpC9Ps/OVgJ1z3tsKKE46kLTN1BQCjPHa1rqA0uJmosLSIyeSh7P8UfKrh2c3eEiP2ECHJH1sYZQodGVu+OgRl/fZA14F5BNPxnWWiQszlJHy9XLHamlfu4vbFkry96mgbVQ5MDJynhfBq6bSDRo4Fz2KcKFS3g0/CeQk5Atd2uId1IffTdk9A3akBHRFPmUR5SNuKdZ6XuYqHIY6bVvNHiZ36GMyH6SLCeW2CWDAQYG/nog73OH1XRpQooFkrC1jmgK1DpvGkzYVdAoG8B2txWtdo8ZtSHioa8A8CwswBCokEljDwxpr+X9pc8GZhDZQCRa4YMhpwsz9IBQx4Bu4u5rivTavbNWDstGCJH5txYi/nBYs0qlHe0yaz81CfwBUb9xgBm37fl6X5/quQkNmBF3DHYcxQ2oEDqTfg7key407MSwPwuPMpKR/x9w6/3BClo00ZX8ymi6+WH00E3ibnOgbnfoOD2W45GSVCotsnVwdIC8dyeiRptqtu+TMDCuPKttAa9y9LGkAySiZsyfuMnKekBJ/z9ayGzuc+ZsihTn3WMA3M0b6FughGJiXrzIB7Lx4BCa7LUa4J349+tMF0lPz5TGrFauzbH+4TvICJYfeVBGBMhfgPzRTob/PxWgQXGTiaBwJJwAuZBMmwAexjOAa8JS0CddBpvl/q5EjZN3NFEm5OAFCWWm6LrlB+7zI5r/fr99n5dV5easdygRVHsiOMRMDG8RhkHn+RtGZsnq1miPqmhDqfHAzUlVShXpboGb/I4q4vw7WlON/cL2Cbuo2nulCO3x/eMl63k/q+8f3Sd4cK9v1zIRmkYswohGzcKMK4yaHsBZlBzkLDdqZu9nSfH4e3AZWJHlw5iI+vVYZV0OHsNxBTa95HYDTG+vliwO6Qad5Ki8rP6Ojg9VmxULfnRg4Pp2gczkOY9hWIOMOY/vZ5cUDkh0W96qX9X6tHVQUwYU1O6by/p+HV6G+aJl6Krb5sE3RuVEhFl0XL3/JhL3/8q+mENUj31FVwpwEN3+7tGJDcbcVfwoR1mJXQTJ378P4cJtY6fzuJ7zwDaOw6RvGo+yZtCJdubkUnUhOT++B0Qitw+xmCY6xQZ+SBNodSD50OlhJtHI84UcaN9KT+dF/tIE8YHv0EBX4UsCmrSg30xEtVj+/XmvPAgKxURrXWOT7FcB7gt07TIHzBqy04Y25b9SM5eyTbac+jHM4/MtzbXUrOQAz7lTHTgLsLCK6+As3kcZnezFV0+7spReR/mp7Ru+Fm4zYoBjDGhL33OXLG2fgCDZCCorz1qAakPZFB4ZvG/bLO6LeT1C+eGiY8Hm7PXsv0tUgIuMw6RIZszo9PF6KuqwmUQLNq0j6y8MjJ3SvJ32kdOxF5zFQqo+5Ta8tY6iM9MguQC42xIvvqPJF3Wk/rXcW3dOG3nDzcbNw7KmKS3gVqpVNUFp8PWjMonRMB2CmVDNyt00YyQ5/QFm29FryUEP7M4Pz9qyt6GZVzP2E0Il7JVPEabeR1t3RbCZEfSDVL3DihKWkAcEaVID0LbK7iEBPPWmmyb+eJidrZ59mroYPLHvDgfz0zxG89C0rSCZGU1Sm1AHc0NBFKbFqUjddIbr96vDFaT+zSdzcSnng+ntH0otYGdzPwT52pu6PaRAdMEhPKcQUf/BAc8KlajyBG4BERWc5n/HUr0I9OiKfGBoZUCHqo2rtO/+Jbv1tlfFAdB6bgzRoym2D7JXsZtXlxb/0/4UgsIPjlpLhal3Hf9pOMQFhyjZlDZyoqQBLnoYE/iWv3hWmk6qLY4PLFsCMPuBAofMZZgfdfCehFwcToUn9cfuRZYLgOJJWL3IgaYBcuNaBhQgmXUPmtAdpBUdATCZBu/dyvyrA2sHqaGmSWNcDGVxPp7hh85up1heGkOrM9X3kDG7dm+dZjfJ1hlo0Yq18lDk/+N9juskKIP4rhHc1K1my7DO3wa0+zzFtRhQI/zrb256RBxdVBFzprMZZv3kFbF+2YWpWSjV8qNsW0boAQGuH5fl8/KxcC2NucOicNKbLuSaivvfkeD5HIEto3Pd2CTJdQUkZHYpG5O3TSni5NwRDz6vN8f6e5t+ffQGZ5z5g3SJ2n+/YbvH29cGCzdvsUD65miFo3WqsE8+HBEr3nxXtTSVFp9ku6P1K0xVLvInq9EGjEL67n8DlGYQFJ8Nks+Occh/bfhhhOCS7IrmZY2K5kO5BlpPdCAWzvWzzAu8dMFGXAD9/TunjP+a1nfA4O1U1NmtNLu/jt7X85fjPuZm/ToyeAHdZ69IEBnSVe+l9LpOMZ5ExSdvjO/aujqnCQt0lxCqmaIrPVavNyfqUSd7kVy58U6XuiqP4T5cTd/rft82/TOwX3+ZohuDkjIQ7q+sBq/6btLmKFBvFXplIAgohdxBp+LJ9/7ig7MPb4P2uOnI34+g3QIGXcu4L4rcD5BrLD8GZkC3E0SM3oDRSNDVSbfa4jkhnjl7NGx/eW7F80cHicxfmOGSuwZ0xhm0d26dMKiuvaJN1CQWBG1jkEqZ263+v3nhadBIAnDVA76QGRJlukni+eldGIbMfKJ1GDZS9OWljw9TA4o6yCmrmXkcRuj7Pf6ybEFvv7VLVyO2JsJ8uU91X/iAmcgLNw1wtRDLGl0SyflH0QKxlLC0LeBqQsMSfIB7izD+qzs3+3RqwV3gXm1+tJ4ymQe/83zx/50LPUnpFWKt6x5X2c98y6z6+FAl5cmzi208dqql/ZaYsQ8lAu6qUoSfd99CZDrIIQBvQmczs3vI3opWUBi/KDSX/oMoXzESpWXDhwuC6IpnC1STAkSaIiZjW+stEKYhDLWwD+KbbQl09RB9uhSXkXSp2k5ahoGTVHop4JVbkn3l+WVo2nfpFif6BrYwyywle9ty32RJoTBWKgB0i/MS18tOgUVJjeMTtW05Gi68nec9eMTbHyazsi1M19EWrELcOThJLvmI3lMVyLWV0uBUXUweHNqb/VkS9GPV9O7AdRcN+UY9c+A3RA6r8hVtGswRv9G+umn2S+XRihWjK4v1w29wO4qnO59egMZVzybULXylv/jECdgKKG9CLFR8bUP6x41JihokqZGVnwUn4g9ShAfBYHMj5r46iw9q4XrxlUgZF4L5Fr5t0gmKvGSIVdBFW5F9sQ4joy53a4zFhqbJ/PVMGEilr1EwrgqJYp+OgyenktlqCeKYbIPawgF1ZUTF2UgtKVTq1IIblPYkJYSG5S6Yb2mWmMrxStcRntTVtHaq6uUlfpaqGIj0utntlxUQMZ6A0eVRrwK3XVd0UfpMAhQbIIASeVKWUILoPL1qmQxIpn8J7W05NjQIq23+9NnBSpi8UHhYxK/XsBqbPkRBGWIlcRbNurMWgb0osb/fEPwACwIt4gPHkV7UMAGhEvEW7vFtrMVJQvbcIiOPfkl9kkq3EUArtpClOPMT/xeHQsfsfL3lCj4jazIZfJrymELRMGHJ5VUzlkoZodA14FuhQwHx7N3znnW/oEx8dDAiP/kN+8zGLft4igRAMWKt0PDAlV/QB8Rry2KTQHgTcGoJh4BVmdKsc6UFi0llPB8/V4R4ixL5qP2WJze7KNQvAKfT2kFhJmdFe8sqUlJnVJdvnD8xmUzsJi/jsWUJrhDD/0Fw9cX4EkfT+IeFfv5v65p7ydmjWAHoRt1knwUiIOwiXPCIHZ0MEujzA+cYoKs1PN7F9P87sR+6aaDzKO1uj3xYC2RhT1s36pPdfHFcaNuVnf306VLu7cPmhjTPQXB9cM2uDvF4CYb/wO2t2rg/Axu/9Z6LDVNdv2xHLLtZov3HQcmvcdPfM+rcbv0zXuVEJtp13K8itGzzte95RMM4j51n+sGdvQEqlbmdOlSs2aSsox2HjdjabvIodcoylqvFb8tRK1tXWGLeljA2VoddUvufLhXNdwuaB2CfHG+CItJgXzMIbfi4eUoRaXXavtqpBCnh/mOWdJ6fz0iJFpXkesF+n3yHgUpBGvCSorEANPTGOiPdliTRlNvUkERvFKbAtySL0R3POTOxHmKgfv6x+5KZwB0ex7H8ocvcps1EurXNvvbGPfHouvOfjhHU/KIiaY/0Zb9hlw1IbILYu91x4tPjYxezumgADptPLXo/yW1JIEK3tGLXksmidRxVGRahyIJEwIOYGJaLvvPIEMxyTp7s/Bs3HpzfnciJWpoODC+fUua87P0jogkhDwRWx0UWbwu/qtUVx9Dh7d5EoyA9OWLkp92/52005OWE7elxkz+esO1wOwKl5evavCcxypwv09vnhgCOICx4O9HbUrvz74iymM+aaZ7roxJ/TWxoh41kkdlOvgUmbFZQlZgYKwDcvmblCBFM7aqe7A/+e4S14ZKl3S4clFqnG5qKv9YwAsCLJ59emr7ErgWQ7pi/zO8iN0c6ESWlSdhH0NyiznT3PhePto2GWrSR+GH0eHrCu4f58dR0XENBSybsbzjH/i+gNBNdE+HLvU7kpso3DobgrOaY95zmIXrNHR9X2bV8cd7IpjxDGOTe/wtnngKSQO7NHIDdasxM2Kn53EBD8fxzQAa5QYk/WrmvQ5weTB0mBvlpgLQm5ez14p8f+1ps8ZZ5tFT0V+SlMKKgHERckOiW7QBVqE6thxsTHRGGQorPzIljT5M61oS0W7+Dq1HLBnQgNuXxS92VxDsvvH7wmTG93cwkM9wPZgmh1aC0yBH6GoCwSDnd32tUj9Lb26lfNmSE6MWoBtpG/TuDCTdiHC7a+woHnVXmvL4XE4XOL9fgOaUkk/aVgUZhUNXIRBqH1KN7OAycoSc5VLteFh1GNzffOv7s1semlld9xyctNhVPriCYyL88tpZojuAeh/5vp1On+POKqUbFxLBWRjLiUimkKCAXASXESFbXsIyViJvXgeO5D1mSQcmYQyWZnUknoj+weQiUPdpY6s+cqJsvmtoe2aKgO92Uo4I4SLSJOYmMukGNeBTnfd/CdQRSlAyEK+ptzoMsHXRy0laJGuAhCHIfZXrYD8IbZpLO+Ma42HEoibb/6E79F5aMVlYAMkbUx3T2cWePeq016Qfc3JgfrPJqwiLyFp4qtJJI/fTm7XKN+Ll1TEzYzf2l40FSkpyLP8oKyGHvU4j3BCo8Zi2j8xEjnH6ZTIu1vgVwUhuT6o3//hx2GNAl+mdmwv4z9R6sfnYUEmfrTQsyHbBTdAaaHL+boP7kKj8AlSo5qME98a6TCHxe2Gu0booYJbAgBvvKO1y25DPZ2hXGSsZtfOWAy/ZAlEZvanhXCb8H1tXCzYUx04R9UT+LGg8YJn4KFJgUzuCxspT3gw1y1eDl1ClZbaE39S3tf8+qIlHM9eJ4mxQXi29lRlpGv3TXirGlhLAifpF3OrBl5nu4UVcYawNKEM5mZrXmB/uDC4zKeBVd1lMEAwEtG7srfX60jNE9uXw6twu8Yfk2cUlb0bT7Qt482I4Qc0woui/y5E/TWLXI/QtV/Tp3YKKTfpNH9o/zvwoArYOyOUHw8EKKpd/wh0wPyry3p9+cPptpkki87a3FvUqT8F5jUCgY/RHOuxaNEGvfPyw9cnWNVlypgvDj12kpHZ6t0L4dscfLPhMpRMyc6JV4WzoxDOuUr/qEfyL0pBBs/1UMMDNkLZ4za+DW3D+af9vjrbsoQeKKa2jHTcwTWiWctsSfrkv0ZKn0ki+S3jJlnjlAQ4NDAyyLPt15BMFdLdh6COLnjSRfBuFFbUnL/HqOMioMR9W+6E6IEraJqFbd5ZDOHFf5RzMFI4ASccRPYoxRDbvf1xvG7Mr7luO7O1ucGImnrcWz3nXAu0T131nLiXlTQRRHm8eOhC0XVdL5Yykp/U7NuuIt6pU2FI+7EH4pc/Af9kEcleJ0xBqkEN+WhbsCnezTL1DNvffbfbpw0cAZzF/ALOr46l/bX2W/mOf0kUkePs6b9D0HoV/Ou51p0ZzeMC/oLMDRj6J7MYOLzt/R5xmenM/ZMarHu7pPzx4sydIgR71sqEl7ro1NmKnUOHFOYLoKdQeZeDvIW/gPE3NCuYd1wiv1X9/xcROKElqwNIYm0Gtm5OzxQ46HJcQEQeQ1sfbpBa0PdqlUd7Mnav9BYpV6JRYXPO3LEjq1hkAR67VS00zD0vqiNLSnNHzIfYWvt0Q8mCj6gEh4DAXIvgQ5ufRke4MZ7OeefiWNLIRaHvUrUlRXLX2kkwQp6rDnUwEU7oE6I1h4ppzl9iDEfH8+FstK2KtshszIwJy2im6bMwWsaIB+3L5eSN7DQ1GgBzDPhjiS7pHb+7QrRx0+o1MDC3/8Q9DE7ARd5WDCXGN0WJPFg6OTy6Ll77YeyxRVBpDOM0O36HkxVQ5cNq0BZYU0oRGbj9cheXAa7qqjsjsy5HcHB+9G1UEqt6qo2NqTStzj/NcAdyteYZ+gCB156+Ep25zaTGeUQ9FE0lV/8OETlv2WboDuNgcdtaF3c+isCYSijkWvDB7LSgzv78y5PC26D09sPCYaTwBsmUjmdocFyYYSZfLa2/fhh6va2orFDjRQUj4gVEnTsJ3emBhRrYQYqo9D2jonadjdH7ZVG+ovveGdxgUcdgONW76ZH59JMHokvJZKgnukV6gKiySqdmEIchgYTJx9UOWj0DvgX27AYbE875y8a9ze+WZgtInDElraeBT5nqm01eTPBs/0fmpt06CCUJT1znrd+DFZA3agPxbpbV/33GYVI4K5iMdIsH4e5UlXqr0usPpwH9Q3K8TRnlkCrwF4wsefk0F0oZgNfzRDB1wWAsuCDexp7DzVV0lFaCAURArQL5veuqdBm2w4n1/oCGrvr/5XlwdoilhQhwEn9T9llu76OS7eUWUmCiE2/m2dx+LZj0Lm2agBHd+8DDEtzvji7SF/555G4qaMF/9j9x5Yqe4nTY54nEEWKNkd08q97nQ4z7Ug6ncZ3J28Xmxxm8ethFIvoqEFlAFnpLfe23HD8vUSXFXjpk1fi61kRrJPD5ryuHv5BZB5BKpPgHN83x41tFUfMnETS/Lfyt8/OH1xkQREnUBZHDYAHsErsFfuN6yZl3VnHeAVGtXEiU/HxvBSuRoFbfKG30YQ1boUIpeVt04gncXcOojV6X9WDjs8gu3oRdB2KzRiXQBLY9S+G5GDlBz4hY1om+SvGAWMBUVHdvQK83GqnwmOV68CNX1TqzssWCta6Ket4i8Wmo+P5kqhThWojvvIszb+rKjqmXSzNw0Ebp11960ubcwt7Mo1SbgEHaILQmju4s0NE6nUoSUz5F+SStgOrvBBTj8F4kATMH6toxLuBdk3CNcvS9UIkt2Q/DIDLt7n+T4KCvxjVT7PbF9+wAb6zJrBN8UTaW6sqxaxjMuQGOuG1fbmwOeOgv4qaCFzCx42GMvwfz8hMRnLY37HzoScCCXS3fi2o88WJsEQAn/mEWxyjTNLPO3bz1r+J+NIB0YI5TtozdOdoFO4MBvsqQlUMccCyGXxMn8Dy7yWjbdh1x6yetcRG9p0giYnHkVXoqIlTIfesBlTL40hOJ/j3DwO7Nc2qyLdqLfv/xUtECG39hsqPc7N+J71qVDJ2d+eSMDt4msZmnk4LKWoQ5R64jvRKRWttGhgWdL3MOytLerJzYosK3WZx2t3FHqMxP4ErNrQD6TBL4fLzlSsXLakZHwuCSHVQd1lDxZOYR5I7y4d5ggOSfqBOmfmuUnLXaow+DkpuL54J0kQjjvC5rBjXgDkm8wSR/83FpT/Td0nuMNVaazhprag52GfDtWuxaCUo4g8ymwqlCTE8hnj+qndnm6LRPQYRjttaJUMWPdTZTNnLirrVFYRqpW4VTTQ/YDcfnBHX+52yFtheZbg7wWXouxzMX/a9/Leokr1ikbN+jHqT/4AezqUG+5LmNkOA7O1SDvn4Kg54hRhwRT+hPb1xlPzG9tG7mv0ydJdaf8C3BD8c10N+bUX5JOeMnQBS9qmJJWSTMYBIYQALY0+VwZeF/OyJTUBxihMBr7bcLkpK3lOMxItfF7zou4zQQTxEeBhj6BPVOBWV7VCsmftgsr7ZBmkqeuEuupP1Cvr38OXRXlFEtF0PBkjoQSMJs6kJFCgFn2KdieYlzzLeHOaJOuKn/p3Xp/JgqkuFNAa34v3YmdoOGKMHBdvXpGIIWh5awi4di5Wk6rpApJZSLLYU3AiIRGmyDiodiK57nLtCAxAO2oVfszMOxEbDHYMGKo6R3XdYjwkiFbbSdqb5hzP650fzxKMTs7XNMwmP9W9i/5QwK6wh/8/QQ+dmn1PRzxZVFUPTCswo549JZkmvhWnidDqJSn17Kp6twmmfTGNUhaA+lQaUGg/oaEkIbhfcubW/jtoFOAzAWtHJoVotFPM6WAJzzUc4mJydlhpuPuKhNGCbO7reqkaMMDv6MRWj6EKc+KHeajTjvwJsxAYOkV20ZKkalgpooX74kd/mmKG4Nscc0e+w2Lc0D39Fq/8BK+iFT7ISvnEMsG64MD1OHY4BTCwTx1Yi2i6cXis8QcsIfLF9XPBIaiXEkRVC+N2pTqj58I4kx1B1ppEop0rBx47P8UvYBvD3YXx6WKhTDDyi8Kpz0wGVMIVj4UGhqwAbbWRYuXUwSBUk1QnW4E5nzEMbLS+F+YmkFXH55cuIfn79jh2N04qYYhm2L1iwcQO28xX21ZkbsqNtKUSzosEbFIGVAaPwVkLD7K9yjwjbG10n57KJuGgnGeow57RaTGW3iMW+SSQhwwm081Hu8t9vRNtGaVCbu6I+5esz+kWcafD3OArpDyuQ7idGRXbCXYYbhS7C5e2mp1x6BiQkg3JS1loRwk0Alsl5uBw7m0mjBS6Rh9eFBtKnfSvp2ItFViyuWyo/LdVe0e+sP78HQMKnaKfl4eN5HZ/mx9gvAo5Wx72bDEnk1Ze7T/CjJqRrxGl9J0wWZrqgeI9DLtcPtHsUysnu19OHicahUE+JeTxg5f1W2L58LLc003TinEZ5v9u8xQceKzZLcC/23S1YbFR+uZA7rG6wNxmxbLtZjBD7+tU5I7uDxb3rLMH+MD5Cb9WkPZsmzZLTUaOb9OySSGDgcVQoWPk+oK6sTsppFCh3HYjb+E4fCar6ilibdcKQPP0sm9Hg8Tq3czcxLf4yVpj4tMFipAfjM0Sy5LQ8VIt+6/oVQoscT7MDtMROEjTbz8xutsjjFdHJB38ZhSfrr3EDPzaOdf2aLjm3swVErrJfrQ/LxkTAjI4HTbD6FSYMHDNwWpA4FtvcLxFgCrvkiVVpx8ZTaLoKAFvHj8GGg9cUtX2Qa+DMMjd7kr68QHd+W1JppvfovvZHd9932Fyx16u78eZjj28a5b0xcoQJlvtVI7CFsD4Py6f3e4SdeJNlElFnGR4SnVJ7kSUGtf8tbfDwxO8E6GNl7ojviGj3Kap0tQBwaBBJprVnpdT2xe+UrGYds5UrQbBCtdyoRF7WzKte9/R/HtKjCh0mMfy1cwCiu2dleL+nMmULQnw+X/6zwusZSRuYmGoFVUTVNPVFz9WY1kDtVo86ut32ZyzJW1h62eqMPK+aLEzV8WBTafhSk14QY+o/nvjNL5utTRlfsfEgTLNa34Ajr/+ZGg7GP1K6DUdWGRi1TpcVZfJMo0Noif673SAJOeMOeKgpD/h71B2ene9/dov1Ev4YUEvB0cODUpCmfx09TrL63okpso3K9gyi8V7cCom+/JzH6Q2nIiFLiWTVChLgvWuuXeUUtftYgre4dWwL/gDP0O32ZH0rwEvNyl8x995yfSb4aa46aBn+fjvCygdROj075G6qollFgqhp3drHFWJv02FXsIKMl40mC3s+y0UOGTWV63kAoYPuC7Y5eQGe4o7ps4MWiJheAgUZlDKjx+5p2tJ7zNTDEJIdTAc3Q1gLhxZEqIU9Tkw24GJTPKuBQHJJW8y3AXYuRSI+YjWNg6mdAHQBf8a0DFEqMklv1cSJQLQvK2rGuK90mmxgO3eF9TTlqINZ9ykKjfLKN9lfN5x08Elc4BRkgv7XGuro6liPsE50w7p0n3zpeo4hJbkagK4eoElpBJnQO8Af6op1LimdwhWR8FvU94FFnx0SYW6mqiqQHeePXSdNlWncCYdM8x9xXCfOB9DccmfteO7c3sJ7knTqBuTwcS6f2JuftmZoreF/HQH6A252jEQB2dzvAQ2+DitVIk7DWUhljKjwTTfs3tdOXgO45K0aECxeBO9eF5uetKX0dbLDXff23ytjCm8txtLiyIJsieumtc5tl/6/AgS8acHN3Maqq0BlSpkBl+0I8U7Jygj3wAPBI1LC0Fhei1q3PtaCQV+xZKiy/FrIzCaRqn/cbYPuC+JqV1MMUXcA/TmtauqZdx+eY9j5vd8TBkofQNF6EODaXgYuBluBiCjQVLf+B461k4cNz2Wm1EFGhYSB4+JybsPGzMll8Na2GzuI4eYT2I5TV9SkxTj+ygmuY0WCLuQ/UyUTsPgSyzprRTMTqekIqCyaylAn5DKXAwZcvEZ7lsbODcyyNsUCbimeijPkswK2/DQkAMqE9BOm+/fopCIuvxP76uOSfqq4cO1UOKFV9MwMw7s5rLb47JOPbMBS//6SPldg0ZvspLbqi9wJgOYJ0igcUjEDpmt+LbVYX1g4+rl2pPDqYvVa2uAFp+We+N0/tNX9TcQ0aA+faWCzNTLBtI5+kr6zlDW6HlRxvZa7tj+YK9SpFjPWFyAjBBcT7A9nLWcEMWYYEIqkW665u87nXNXFsyagUGSuHvgACk+DVcFfN1GFQO62xvcTbmv+3zkB1oRXMytzDYdcnVbrAPl00R/bFF4aNoODynxd2QmPXo0mL3heNcdbJS7HR3DjqEeubbrnBw8VP0ed//fa+e6gt7UupfQvdmf6KQXCEGZTEyrfSFiIfgECk8SyPNoXEiZ0E8KmuOAesIyg4KBEHrI/hsNSvDu+padi+evmKLI1F+EDCiafw0B65cd6TFq9dMRNdRkSBstU0HnOG+D5iMdvaE0FWJoOucWbWESLOl3cHDvSzzRnBHjGCWZLtEc4RhJFzRHhK8LMe4g6yKtg6BfIciHg8L2a1dXspDVD2lNHNDauZjGhSfV6RCrA14uYPYs0dO34o4qNHGntkd+oUd5bhaT8dA8DmTDwUIgxm+lqL/E9ICcvAv5q2InN2IBsDfdML7WvyPyDv7cTGYK2STTb/37VYKpE3ODE8C/5N+s1Add3nbL0Gs59tQWIQgy0/v0Ii63V2UBBiwrtHoo9QhEakQ98Iq7/Epz7LBvKfTNTA5uURghvOBc6ySFVcfyIpQ3aITi/frSrkCYh10nKyyKDK6QAgkEIWIawdp3yG087iDDSq5DKs2UorSHeVPA2YK6+B97AjoFNmLxzxoPhLUfvAjoBjofThRPKxDUezhhKuS80+MTmrv9myvBvUeyqChflPCocGtNts+o6KCGsNFkUkncEprDxoi1f18+oZ8N68y6OxWEKZc22sFjBjR7XqCvY6No8aFfcctzlt1im228l+2iZtICLyHwmlEUev0fiZkWcyOoVHebk59L+YHGsP+kKqfY/cU6lK/fASBT3zvWHYy9iTGQs9wUeX9AHJm35l2eAzNIG7swzm98Dn2gKPxwwkj0pCZ1NvgAJwIhRNWFBnTIdCQVpDCZsX9aHoyVedMepUVhnYl/cfzI2KdTlrP1olZTQ5bg5845e9jNmjC1gudqOZX89zgjNQJlfxwf0IqtPFppUIjFKmYijMveI8I6tIm9Mp9Mx0Pelz73BrMPot9xyKhICZxpth1Ux1vYQL14Mz1+ZRiZ/akQ3dvgQOT8EyD6JlUho18jqQ8p3nebU5uurqzd3SJJsTceFAv9lWxlGtLZ/mTjaAT7opFTvZ5Qb61sCXDvkcXSl0lG9akuOy8vviVvoi9JVvXeu0Emf2wdijsXauQ6k+uIXm/RckP8va5jN15Y3O2Q3j1s6RtdkuXXhlHRUw5eIt6kcabiKx+MzUCcWxC5wc/KARWWFehISA34zqiK33yk5cAHKlkqiyZMB0gPeDnG8F1uo2Q5YMNKWPvZLNr0ZWB/7iIxxQtwtQBYzZjehgu+cgRoyOuNTYx4L0BF9x4ka9/vH342Z5s9nlhaPKECILrjQ++3wXba8b/tKPpX17M9gZKLalwEDgl69mpTqLerUpZCDijfH5A7s/Cm7x8h9tP+o0GXhaV2TsHa6NSxKTzmM6S7/lQrDaIRaX7O8pxtTz9J07z1QdFfRT+e4SIQb9ckdfLjU98+CvgIR+0YV9+/yk4olOs8Wf20SxSC1F3DJhJyAytovi8Ajz0NimbjDPIjKL6LjtBt2YomMexxNoSX7r+Mbt0b/db6VowemiOWUeaehv6jlDjLPTvXs2cxOSjg5vx5qQrbDBECVioK8zkVCw310BlkcQm6FSiJXPupVyoiJ6H3wbMOAQD4IS4dNG1OJZ/FemDmlKpSKUBnHTazBafo8TwQk5UgU6GAOxKRrs+1laaAb8zx8iYVKFfc1FxCsJj1S4Y1o4kYIVpxENxMpZBUUMoRN2X0wpEr0odSJJEcjX+fOx3BcXF/QxLVKPRY0S5T/7h8c+MTF/CTN4O0SK9LWr4RVuDjWdqbdBTOSn7uK5cGgWpFbLKFJtajdIc1Sd0FKDEg1VnJbInJBiFB03CQ53GHxr6wupzZXJll6Q+efMIpHWZw81nu8YUqMqj6FjGvu91hOMHdxuiVBcA8p0y5FBhBRWBhKMocl0NYHD9CcQrYys/6StgWXsFfU+zm9m9bd4K2LBQKG95XzvKNahbfLcy/OM3jDSNxYhLAHwBtBVGOSUJqoF7XO/dNO0WzZiLaME0YD0u6q8xylfR/1R9m0BqyTGjlV05/JO+iN5TeokPep3aKmDUMuLst95zuSOLQRpQ5sWlBy5dhVF0Iq1NOn5MNmnfJnjSx7M2FLWlThyWjj6172miEV1A0ujCvvFpeP3n8kJx78rESeqSaGMzsNGdPGEiowVxafxueOWZhx+v0gvnJAMrtxAsWvBenibHMlEEqnlI6Uz05dgihRj281J+jCaksvH8KHZsarv2hDE/YTunme5BFaHAvAZnea3WK+xcYk4Fb/V51F75I9SudeKe9KsqMUIlq4pRzHA77S9JDJBaVk34YEyLxy1/Djesi9lCrhsvhjTHPOJy+fG9ESEaNuJ3KwEh/9SJZUSGoaOf7z8zYX7ATM0agpWggBW7UK3DSfm5Sb9aIom74ipjX5CXJXfI1VwTJyEctfNlvzMJOQGrbuKPmLVknvH6iYX2MYYqI2vb05DBYdJc4JufVG5uTvDI/h26RKLBnypJSGyG0w8N4H2RO1o7W1C2TPQl25cHyxcnbit7qBAD/KPHK4PF6X9ORmGUZHZatznU5lvLCB1jt70MaIKjd39OCVQbozLfqVekLqN5/zshnSZUcX7muTW1F4L725DFOaTO2GvckG0tZsMlQV33ydP1d17JKVz1uHYt6HjKTU/SI1i3ojY2MokuTLelbBV5c5bg2ZIQ3SjnBau2KOcyk0CH7TS8C0ghO8+CD/NLHWKu+VY0FTTorYdbF/N2DK1xgCVE8EpwsSHHwvaZeBXlZagDk9m5vps0quAD3Lt5SepXdk/sSY7agganmKi4fDsIJdQTJwPec3qatt08iVtSdvttQ6Z7hm8PIQuqgrwcssZo9Gf6Ghji1IJKVzwSTiTCrE6CoNMCg4nYz2Z0zARSmDFPPHCmlyTTxaLSO6n6XaimgV4sDhykERwxaqTXOD67tRqzvef75jY6WK6HkiLsi88BPgYvW2w0rS3lX1B8gC98Ut61/rjAd85J8R9NEEaaKXFvQMsGBRJMokFI2jK+atdkvbsy3itMpGTKf8bFfK27rKV2xgQJMNpc9GoGH5B13WcDc9W+Vt+UvzQ9vwbvuskAoVxf0VLeAMNc9HSlIogpJ3xScifccURu6TsG2KFgPC6JsT994Zt1l3ujLISSgRcuqvzp6eRL2sVOzAQxX69nU45w4yu8AJ3C34K5aIBVLhBxvr1uxxUHwRNZUIRwGtDimZvlj1XTsYijT4LpDXjJGMG/vSSh+iKawKZos2W3A/taVQ3+hWM3vdAaaFzfabnKYOIyBH9fj8i58jpAluuEK1fiRSIadmVH1+siMAFwn81s6zQvM9p9J81JawXKQvqdEasRrwSZ7/fGtmgQV1Zpb7uxJtLOkkjOdsn1sLs/fim0Z+VcJXZyuDPZMGTPO7D+le0PhClNjWW99EzNCO35oeobABARR9/2eW7KPtfw/ecsxnUImO4mvRj7sy/SykDTMosCAaIjCIyLvAPNhW6CPceKQXDTBvQ11bpBmvXx4J02RinGEAndqZFiX14L2ti3R1NWmPrbdXmBTybgOGI4L93D0FTH1dAZ6aubyWEPmR8/Z/p72adYI0l6nGVtv8TjkRSqjdY+g/bkdsgzE4TJTHkPk+WH5luoKvDxZgm6T0EVGbPjRrBVfIGYMZ0iXKouFPDHvozBPxCYO4aqeE3qQrux6fVXvk677mPhQG4e+BM4hzkRNiMrJ9+JEJ7zihA7iOFu6wWAWa9iD7mFerZMYiKptaDsMwJhNgYMH+Izd7J+bjmaosQ4QLHwVq3efFKZlQDJVmJRlK85EyiYLSOP7dhRZsfpiLtydaJ5wyXt4Dty1tEF7RiWeQu4+ha8rtnBvrnJwoY/VHkwNGhALLaPEXJ5C7xa1TAJ5+fd9EYDO+7QOYPCy/upOjqrl1CU7olDF3AnVnV4hanr5tTsk8n8OMQ5yaL6s1JQ5Z0XvUv1+4IPjsIbWCPJ0fDU5QEsrLeuJV3MjMlRlZsv4LXsD+/n+hVYtNjoziKBHvFMJ9QXfRLnJh8hF/v2x4DF5nb5LNfg1qylYdZ5mRSUIJoexlUjwquPVGTqauEiZ4uE5Qx6/iAWFgJ+4liIIiXYB9VOg4Zav4PhQYhmmsgfD04OiuT2bNbbb5nfBy+942oZju0zQ6uqbxw9ndhmM+pSPKmgyEk4U+yv/9o939virEqoG5NpnV8jPZOdSFjEJbW2E17DDtRtRkTp9zcj/tYa4LXi8WeI/yyObIPWQe9yylwtQYflbbPXxfSqi4Ev7XoSApRaCB2YzKOLYB4BzFq9E+kl3CHWG8I4TjdH1D3I1iN4vm9+KiNRfaC+YKufJlSjQZsjAeMG9Yys7LxVFCz4VwAb0dPfYG7iGPEUY56onGopWasOdt+Jh8juRXQ/bTznO417x/8iomakeaYIn22DUcDYuaqdzkTK5am8ZpbiTKoem+PmKQTSzcRluDmNWP+KjOYnbYw6NtILO7g5X/BhOZrLH5ekGoVhFJVLoeueLLwUKaZ1f3YX5zVO0MjFw2+4Ani66fLb735NU1Upgvfi4P5RpbeLZhqtGgtQR6ylY5jiRcZG+xIVCcfZkj8aPFUswUUUCeUB4ysx3ntkK8t7BVQS513eaq1LzH75genGXn7AER09PBY4bWrwRMNtew+OjZ6itjNz0lxUX9Nrm3UPw9MxQ3KMe858io4CEUj+GhUjMR9UWw8//+t8cL7HLtW6nfPmmNXnJnriGiWWWbS7BwB/YpnOU6Mxcx2gUTp9vzX7KZW5YiIdggumuGN/KiYc0Gg9hahblA/07sL+PvQTB/MKy0uuGaXww+A3P6GVwBRRpYrgIbzhlSYMzE+TVV2kpykGZ0XdpxNBybbC2QoZSpkdRKHSU7TgRyGiX05Qur8hLkGRsYSbvQ4pdilO2xPWA6pFoy8rfYTNpW5ccmPUP2bgeE6KRG9hnlbFp+l84FOpMyHD/fqKNyS7q48/IYtfk3M7pXBME3lpldpL5IkNH0LqR8py64ljviUSdKvOxLfiN0olxFLYudyJKie8qAVkigyPX13lEAmNxl+tVIqrn+8gDXEV26id4ufkgdsMsqd+btXp8Riw0NK0JO2tdYQN3SSj6hraSGiBruVqyl8ueVPmPj7BPS2qRuEcKq/aEx7fiXahPm2wdlyqSWEvxsqgmFB8iTCYKRlZur/4a0clh89Hr2MH5rPtvDx99XfEP8PIknaHofsV3MhDPsLHif+yHZKUidzPzJe1VBRcL7qpzh3zyTzTmU/YG9dVAua3qMYwPlbd7cXBjbnbN+Ys92MUjpaLCt1wqL3Uw2SAbXvWw7aKsVmEQ+rCuK96LPVH7DHHCBaXs10rBSFwVigwhjLZuEW/xf8R1u4SlzBrw8TrEOflVxs7uqoxV0sYFCY4pUohE5CyhdVem9ILocO/E2VzDbzEQ4kiL8fyAXCbpFtsxgaZ3xWhYT2/Vl4G/5jhaa0htikNB/R2zWOeNhS5yHmZiA+32DOEQq9dqwHiTXaqh6HqVDLeIjBrO6TQq+towcCOfwI4r/zEW0ZGzIk4WuW2xj3uXqrKl7uIo17ODL8Ub5+PTdN4CDXvHcZl+RTnDlLjUkwlgS55LwzzMrmVUvMolSpV4va1DzFJc79z6G3fqNmlylqJB9ENApDj4Efbcn40uQfpSvRkiR0bfb9bfoh5l9QNXA/Hc8EMeG72uWTNNvG/8blss7VDfQqVFU7iIy9uFgz5bNJdeTxAfDrySuiRDzOo6bwiChm19MvOnSek3mGTF2C37faud7lXGxxADWloOm5tmB/IhST+EKs2l6pFuUEiVsUM+z092DxkpI5NtfzBTzB0dM7qywOLIMuqAZ7+UD/NkLx/W0/bt2l0RHnnim+IRkrQuQk+a526xOySJ9xCYo3k4jpy2AzAvrj5b49yGIJeDFbSHo4SYc6SSOuZDplId8kTzIj4pmrMXpOFgW9cRpMihJiLCPV8ycK/0v7ysvyLsyxUIvJJNI82rgvkrcs+jXTIOWDtW9c5Rt2cam71NJokJBx11VCvESl1PILSUVmolH+tWhlEWpRgJbMvqBUt2g+YBciUc8vUg9WjX677No4KS7lC1v+5uwKXaA3CiGboZ56eFgVO+3y3SqrI5FQC/IA31VQmnSGXwFArOmGGv9TSj0GIhxq2qU2JIFaqjBiqBdC6TWsqFa2aSFqD9Qh715IEfS9l9S4RyJEfgy7DvHWefUi0lyRxy8XV84OzGfU2iA7ZaVcWVlv/C414ONvDZwzHcX2YYGANWOJpHusU+246dwww0c9bOEOfyZinyQQ8mnKHA6PCuzICT3bMNFc6IlujuoqXcd5vvD3D/ebbEp6LhrYvI7DsbY0vur7Oipd6zT7HTovvRvYYdwUQUbgL/Jn5WBGIDDB9U2brmzwdr1MaAa3b8mKB0nd61LM12zooP3K+5gq30h+yY4uUjWQH1j9gBmkoMUTObiiYea7L8S30gb+tW5BDET/VJEOPzMujog+Yu4ldtaRmVL1N+VNafTyCK7Tr9EzGdPDmtma+mYT9PGvDihu7kP3754KKLf42kWFTL+QLKQmAxUZtK/fS08lMy0P7BxvLT0MwG2JZXMCYSoMdfwSqjSK78rL/lceUH/gyslJ7mDFnVfiOnwlwPNwSC8dTpsbXXqb6jaL/slw+MtWOmj+INDzKSKgCSmqD0BIotMsrQ3JdyeKG3nD8J6s3vPDF5uLFRDZXhhmJkfNjKyt2AyK2OH+p2n+DsEfZxO5EE++4eP5bS7fmW/trXRenxUCDT04busxXYST6Ixm5+kjJBPNQc4hRiHkU5Mz3ba7GpEZMR0/6DlMLXN0WuL9CBH9UipUHhv5+C83kLHK+gHzjpHFH2hEkIH5LKB1jDUGXPO5w4Gi6kJAreHbI82gy4hVVqvkH2tUW5BftvNfzASA0/isNoBdqB6ElcNZC+GygiNhDINu7I3eiUTUVFfPYz+aplXpzijq3+JSxP61RdgrXdPl1fSKLEVIieqjWX4iSWfnnBH0svGXvtEUZGoUSSREhL7wnflbAWEGPhZN7Rj6SQ6/UYqj12NlaEusLyQorNgI3fAGsBzamwSiLKaZTocuFM1FOsLh6pjcExLBLH13aVUHUW5cn2VRMXUiDBFQ5khISZyvaJ7MfvRBejNIKKQpwV5YvVhzC7sm7aCUlhaRP4Qnljo4arwoVjxLiq9Z111uphMyaSIolLj2QvNBIhciuGCX8Lu7a8Ohl/8L/b7WfnJ6aJeMsIoCIWTkQ7Lgb9LfCaUsb//2qzXiyKouJNT4ZYEnC5BisLzZBMRSFjupw6NiR7VcOHSzVSyXfl8WZeHvv4pDRVkTgUgRN4UayJ/bZIGitOaUPlxEzUSoylFaef0zdAJy0WVgcSasimnuvcnUexc1VH+Cv9RYrXs0aOdoa4Q+7tQIXgskiVl0hVkkcqjwqBkIWkVr7+InrbGBSErwwQdAeZ6CANv/UqjmbVK/Oul4sK+YMwHSkd4IJmT1j/mSaNZOf3saDq1GFajIhX+OD0IampkUUDlprT4i974zQLvFDdK7ONlaHyuaZmZqgMGC9yedEI2jkAsUQFTdWPPOH0Sa4H9VLuNKe8iBbk5uqbMr0yrg3VhnxTwfdT/oHDEUlWBynlJCvMcbe4f1jBCks3VAhcRkeo7g7Qw7Dgz5Z/9JyXx7MLEJlSt7ZS8fm2zXOB1lfv+O5YwX4VagOkjdIdKVAANZd+wa4BHjIcizYclbDbKa+Sb+3iTjhOm4CHO4obj2V8O25gXlxWNcZSc6HCim6NiQGMTs5DSoc6xExHhmb1FhPonySDXseyeGV1ZUFbSNJkUJSF/396PT2h8AoAl918fNMem3WJflDqiRHOQ4KxZLyWcgfdyhWLAPviqRKBQvPEMVYHSVGl1NHr5xvrzBzU9V1g63bhCTEQJW4KmyPz/ahjT4FMbchoPvjIEYeQPgzOTQLs88EHGIas4lJXz5gsvuONMzn2N0CPyCMacU+U2ZLeqjwdgeFZq4Px7fpmBwcF9bPW9ZC09d8B2PjBpFygnYBavK/Qo+yMblWTESOXv1HNGqaDZ2Raj/b1ke+jmxf86nHHhMBcfE0i6LGGK66aHkGNXQ8wPJRwNAh9iSVQaQwiB+IIFfGFqsKFO0CUo2cerZP5DpR49u+BCEX3QmvcmQltp9CG8r+I02eArQ9zEkBtckSUnmDYW1gIgEP8MihUgKxw0BzHmap2RXaPxo03BJyofnbA9I59Q5+iGrTl4tpFUjkr0q7A8RAoBGdDmjjtz+YWjMyQMwwqaTwfOEhgUXte45bnmexz9peJJekPT8mvlnwBfhh8bDIut5zxmBNqmQ/QNdBvJginlLVpjg3HcmK9Q04+edCLQzEpXBU3cDwQvMKWF/lsaNc1SObnVdxTa6VKh9OKuyFAGaWD41DydkPWovDAgTZyiEmyqadAhwU+b8Ns0JodwvHEiS1oU/W3gQQIDyqEmWbwQuoxcfTre7zVWaWb1X5HOA3kL/OtBJaYPYErnWT4uqJ1zuLQjQMSiGoD4BPvTmjO8ELSEtomx2mfKKzA2TAxkZKt/qrn98SCCTHp9OAwbJc8CJXV4Pz0RXUHl964YtCO6k28BRl2Y3W/sgPgQxFxN0fHa+shS5yvUI7p8xqtHRv+6p1+bnJOv8s174dpn/wvJlkOK4531cFHBAT4GlpVbk9TlGZWFcbh2jNp15kdq+r6txraG7KJOEEhKpRFWQ/1AtQ9r4aPeZswvOxbNAvzwfrHOvxo8hhNwZ+GG2HhpcGv+qSy+0W0y9myx89+CFXYUixMiF8TfDV667whGVnofHfGZWcN6SD70sr25Tkdy/t4KYfdhWAUWDE2ed6sc4fc4nPHnS18Y3tZJoZIZk5WsCb2JOrobbyV6BdpnLKSCMs/fpGsuQjYA2JeCZpuhu1zhz6mU1mRje9K6xYSBVvyhvPtpPUemvVmB9NZV3uSZFwsNEgoPc9iin2uVvO8eLyIHSsfg3Cgy4f0NK2VzKY5qcX1iZATUNX157Z5ABOpH0+XILUNjp5dryIBjNvlx2Zy29nmwKvI7/Wkh5lE4jpWQpxv8iUGsIiOmdst4wXsvE9uo0/wfOHxJ5d4ZILSOlwM/JaPNwlsunkk2HIzUDOEwtrKx0yvsLgltJaB4Dqp0W6G9ulrffdFTqfVxdb7b4rYAjQioLwxfoxAIo7JKcTqo90fReQtPtZhpRcZqe2NkvMykp+Aw18MMQq4dPZET/L76dGVEnP0ry7rVVdGgdlVCMs5Kbm50fN8DOwN6vvuaPL2ontqLZ9b6Pp0mvl7ISr8ez4klwEYasR9jWQmBWhrGCibz9KYT7vh9UPTRKm2TaoA1cr6Xr/HuDsoY/mGNXyATSMFTsqDQaZubBDxRez5yKeGShrnhaxdl5gAiCsGWJjS6t7eafUppQIBGAbS+QXHzcG7JFMIsmUuCGaB3bPJhAmsYKrHPEDyOrXfy3AuMJFrM7QiVthUUvLt3zd/sFWfhL+Ny1SZIBynP5Lhz45PFcjGs971jVO7szHI7akQXv/ZSzKHtRSFLNcBSDwUMwxJNZYjYGQ2/IX542ikIaLhWGTPpDe8Ct4WJZ9Y56p85s78xgZ0T44FhF6qrBxkz1iChqMFMuLhsOUz8cj2omRjfMeG4G3/clAKNH5jFGGThR9YwGvn6jmagLVjF3tqfyxN94pBatSELd2Xbj0UFY3L61+++W85JsTgJ5ZdtwnGdGEkipBmyavxn3Rm4Ht0YiLpwqqWv49Ycpvxs/pzDkrJvO1nlVccIt2ic3AHvCUIPPxDEEA+xbuDWzEbL1sohyK4+NfRXdmdtHqNQ1MJID5XpWaOVsRqGCkXwlm4xQ2yC1Kfg7tTUTe+/IcthZ0/n91jItulPQX4TjtAOss+tCI/AGLOBnN0m6X8qT0fdPd5qK7+kcqSuusPQiBS7DzmJH7L4cMShBdZvpo1UaktctW58+Nuc8pkPd5exMWlmwAu1wA/fG2srHDepNTa2hK7AYx8MH02yY9Fd67qyeZF/4I0qpFHoTN8/aBBVXvpsdIUREpP0e/V9rfHv/b6QK7hlyhRWuJ0QAqB/OwOzpxK96ilE6qxAn7N8j3TsJoCcYbMOwXj+3QOfi5Q4QjUPXRw3Eq+oFx+E1t250GClfpkRB39uWxPUbR7aVx6A3AUEiKw4YRk1fTB7W8KP033qgJcvg="/>
  <p:tag name="MEKKOXMLTAGS" val="1"/>
  <p:tag name="ALREADY-CHECKE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Fy/KjLWe8S6F+PSoMieWfmB0Fi5/bQQMhs55JekApiiLN+jebi6TCj9MBJ+rTKn9TzdeRMFQw0MiTKWe+SElwJRgZZuM2/wrfxuq7p84LItdhqTjpNBsaxBjSjL6IEQcmBpjv653z7s7NM06E9hhXaCkO8wDCvedIMi7uUU6pF41PscjWtGOJXJ5oBo0yW0TeU4bo+HTiiilCVjBNEtLBCSgjyMoqCo50KaNCa0r5vhrJ6Ahhx55pOLU7wcjXYkFEkWJlwEz5Cv0y/rvsqvVZxZaiAwU53tnN1hSVLZah/opyKU6Xo17JVVQV3M0Y5+NmuCUyY5mRlR7vdvgt5U1oAwRD1+1RpSqE/rxfhhNvrpdiynOWZcsUs8xuf1jarx/wjCBkXZMc2p7BkiDCq0ZaeKHa1e9zGf7cJVoT1PJgbBHapVBx9aHuvPTpHNhV1g/NpgpZUTi2CUsT94c8Q56xqcnWGep2pV36zWtS8H877SAl4+jfszQJ2v9kXOVsu2rE4ogdTGXBV5nNm4CQiGg9rey1qye5LuinqGk0WL/uLX41+zjP88qCI6VleTI/8EfJINqaCPfuUyIIyHlKaGYhZXpG8rUuq018qREskhU5mmHYHXIWTwujEkop0BA2f57cpV6uQvT2LvCT1rDOHo5WwpvUh0GKOGeURz1tM/wSRvoBRmTiPCI7OyVD8VGPfS0chrwbmBGV6L7FZCVaVh93CnzkQNCjUQbYsdhqQw5sNVvudE+5HGH0ZvhBzdvZ1B2pUFJxu2urPP+JdNBcz6pozPuRHHp9/c4UiJs4TzO7lH9jcsPFcJJm7D6xOrGW24uuGyd8S4zNGvYtqD+1mJpceNWfJ1cH2QVDIMaZCHzqyWrOQVOl2/CjDUnen3GWzxQMcixwhVzyaeZheuePHxQculofD7eSgSjTuiuc0GcmoOESFUp09Xm6LnszmyozDNlw99HRwXKCsU7SeNCUogIK67+U2PXNR3ZyIlxSfIahoXAfNKG4P4rQLs//qeaoAIAwZ7bTieCvBwa6TiL/Ij/QNEGmnsulBhSysxBc52Kc+0VWRy4ur0JASJ+6PaRqazPQRsKZfbvTNB1MiOtCJgcEw+V4aIErkD3Mql+bL83s0j1UROTVTx72Ye/n1wAfChdXyiUBY+Tn3a/FNHrhdFrqjQz7/gt5sHsd+cqfzd2CRWE2bPDxSURMbM2UfJdmNuBD8wTcB+JjhdoIzAUDZJasIcgn9tHgdqwMvQ27Wb9XcmQlzjDiZ4LInqakLrA4Yin/Ic9rA7MfRDn8bbyRSoxzBr47ttNdXTXkAbCSQRh5ckZNb1w/eENwpfrndVbBTAd139zosA6ctbqfhIOD7rjV8mP+heI/jDy6By40Uk5N/YhZcxs+RzZcEZrQbYlvOyuGHvp98on2cAxoH27VUp6rbiFEugdbk9BSvNPPPus/M0hG0sBtIyBDZcPE3EZK+7+9ZX5XuBVWcqdUe6Xru3VCsbyOS1Dhj3O4Qh8g+a2FPRBPlfaxP1b7KEsheHaGPpXPasncF8WE8cYNw77yFsOaqDMPsJMMC1fSXvLwLVVCSHcWt3muBQeKyC/kiTAkygPdE9u18uXPZ5PZ/UsAj0LZbMBYVsG9Wq70pNRNHHtpIUzRkZdaYb39kQM3V1GVJN+r28JdE54GOzo9wV/YRGKm4iOZwZOm0Y+XzECTNvFNE+60VZCXA/i0UnlF2pqHPei9/Uq6zDUJbKX/PJl5PBrREJFJudRtt2MHlF7Gwh9mF6k56nP/E3teyKASN66dPG3AfCQt67/ZUAhLuFME2EHm1fp5twaq9/OtFQk00A5/XMD7jyDNFOXEqExBuNlq/pLsgpM5bdZA8oNoqexuOX2lOT2dGCAripqFEe2XQDmHTpkOxHMSo4aEnBADv0DnNCRx87qkmAyB8ZnGpZ63RTYjzy7RVf+iAuVQCsfovq0K2mLNm9ISunWkj5Rs+os6st5UPDQ0yv0zSnesFMKhKx1p5C6E7YKU1rNDAtP6IuyhTznMhYnIOlUOxPaKm2F9gf73Qmr80lt5ufsqTQGggMJh2eaSK3QyEhcUSko1RcNN5emBWoALJ6lQq+XGpHztbAdP8Hb3ydxV8kbpV64qOmyPtOcNdgL0cubwGLhNBSAgBcuPIU1/NrQen+km6Vn7T0lBHRO1m5u969vl2W1eCgVv4Gmz1LQhEMN6CPIV4LqyH/AtrI2kGXEEiTo/7YtlQG2qY2PaUWQH7dXvKsNycpo8b+BGopCqf1H2PeqBuyLiiTg4IkYLP0edVT4KAHWF/A3P+z08dj6HOoNNqkX6jUEvrOjIar8GrMbnNhh0LPqGPBQg+w3/vMF0a05O5NR/VKMfL0Fz6qTLWNSEUB5EAud1kWs9sHzHDkE8gxMxwhZ5D/UEbP3qB/YTS//nZsvnFrp/W0tPIiJUitFDQnYR/iQhrhQevewXJKK/7yTxQgYrs3j7ieVVC3OYP9Cu+uORwWU2uLjWNNwBclgFf/W3hAQvIbns7fKuFt3cVwh2Nmr4tUgkSSRvneOLnKlIzXK5V1I+Jynb92Lwt9PekCeyNM0B9xT6yb6eiAwnw5GwZwV8XlhV8ZWcW8QgdNyltGEizzvew0k4siVKFvmvqO3mTAn740GYTP/XfZj8+vYntkB0a33STNApbJ/PIop4+dzkuFxp0lGssJr8285dN3Fcwxzi6mkhTTfhfhBRGgUFAaBRyHZIesdGTrZhowiGFAKUrFF3W3YmGLIk2pdLj+UITacqIMAFk9Ndk5UjMuWbRgs61HyFuKX3MFvUV7pS5cyhJLhTnm5YwBTAJ57H9kdbQq9StOK5va5uYEFes7UGb04PrM+y4NbLbmjKret9Wx5mDhg2sy9NqBIm2NQncIENPOoY5N4LIikfRaoTxQqPp8TWU0smyn3ms5Bfpm3Fjr54RKC2zUi7c5EKdV3wXwiEZNpV0QvesSd4id7sgJByju9G/Qut6u+iypQ4KjSrawnItIYtp4jjuUM5q9uw2MxkGLMoJ6JWraZvjDb7DHqLI3YtH5hRoqylhJ+tEY5W7qX7qDMl1iMOzzzufMYX1717tVRtPBl/ZPuxof18OJ3Zd5FsOkR3KQBgVZS/uOSoajJrxp1QHJfADK5F7R+PVyp+RWKS56yf4rCPgzVJGTd/tD3uSgYpETF65TxKJ7/Fo/lQXGQza7T9F2qZltzS5BJo6zPnABnsaUEjRZwXTf0WB2V/8ab6UgPTTYMYOfpWhP0rLeEIINtd2EnK6YfpmB5XLolKKiuXSCLCSdG1YG03+f3CHLNjp27jUlrppN4s8Mj/VLwvGLZmp/MYHrkga6c5R+p22qosQY/M/SagrKEZ15qLpRuPBoOhQBix7/JAos7XAG3q8b4rZdsikfMOBsT4dCEjxSbNhUoq8kQ+HOR2g+1zgS5PfaL0rTAvnFh1KDXhkXKVfRUOoiMvfo1nbrPqCtaduJJOcaCh8JHgUeRu0cq6PL3IIj8iygPM+6JTdVkZ1chra1TP4Y35WPChldzzp+x4m9ghyTadmpoC3bkNuWjTYII24XUMRT8wDt1BSPsJjsgyINoU+Kjo1hE1o9t0zfKRFtyv5TRfndSicRMLZgyBjD5cKNER82sRpZ9nSv6y97FZPj6Diy8Z4jJIyRmGkH8jgRFutp1Q3T9KtbxCkoqeR4kJyJht6wMVDkKfNxMjOJ+mUVJFPU/6/ZdWiM6kst49hVBUwBOAPIRD8kc15K4e2oQn+TydGe2DmFc4v72tHQuDFWGTvcutToByHdqjiEVFzzclaDngdryY9alKIoGGTTzvO90GVkgBoYvc7N4GbE8OzyfBenGJdXLvqWeK978VhfHIPPlSHF+2Q+ged5dQY0LTqyq9tW7/+yBBkj2gRiW0hhpL7435U6pgTV2k0QKD6KzmFjnNIj1/7pll1poMykr9Xepx6/09fUP/e9Kqxr86wbu9IkBfEhVPacweWbIMFluMA0fC7LF0IGRs5jZPd+xw85Jvaiwv/wVttrm9VTK3Bozyoaw8HmyOS+9wwu5o28C5VXJVrRKk7yDvMmhUL4V1ktiB+k91pD+HGsCdtdThkXTF4vIH8Cfystjh5sQMyy7u/nowPne5wX8xeONVm9KgS5AaYgWe5x/ZkFYnuWH68aZtbTL4yFMCuHjI9j9iDYeQla769k6TNEmQ6ilWerifuCwjft2tUc19N39yx0YQFf4WyKZ8KEYQonY/WSgaX8mCngjEAQrllmBeyQrbGMNbZdxK3XzwpGH1vdjvvsdypKrzaYcxuMfLurs0K3FjKuyuMIMeMzcdkSBwUD68dNAMq3BHxB4T0zdIrBW/JrB8CYpw3LejK9ObV/kazUO01MPiRsxdWkqjtFKzGZ3N6WwQl8aTnsoX7OB3VuRb8wp4bl6E3QqaDv0bYkos+YKTMuEmuE5maWNp/spaop6jgObmeFDbB/iwYVlorSWNrA4eQxpdphDTVZhUw2dMasr5qZUHt9MsbxtcNiNm/rlcUIVCX3dJLX/uGxRVYEYGcluD5p9bFmVd8pZxGDbJVbX9K5Y9UnnghI8TgwoaHG1eatTusvYLUNx2Fvp2U8WIk5z9ISw8eVgoT7qc5AX41NUBcQGG6KbAa+hFbRGfYrF5v+slVzkAQLJ4uAsvj4xYBbciVEqVVSHAYver4rE/3fT1HB8D1nGDHo6h/m79zZ9cp8D7l5s6d2Db/fcL5mdVj7QIzXi7aMuKAXIRLRoZdB0xdr36fq9lBRaQZVyXoVnAKZttmYxR9OR/YIwzcMHO9pnp7I/TneelUtOdz9lUOZ5tus6f/229v02ZqC+zRXJuWfizKA+Npsw6dz+s/Q8KXEv/j23rCGaXZ+wf/cmXkuTH9SVIq45lj/rQuxbWk0Obq3K77PlO15OS5KBc5yRWb+CuxhBomRU6T6rF+yBRIi75uhNflSuUFs87+MbDABjrB/n8jg9V8N7WrrMgMRHXdt1OwJ1Lgbqfz6PIFODaPkDBoL7H3nf8HEJVWuT+xSYYpFKpIUfhdM8cvWWmNA5XS4j00h4qTG//A0UMKOnqIGyyd2zqiV3T/bnMYwMFQ7ApK/jlBvf+i+5GlkY4aWD/kYglbYxchFd/1Q+O63dAcRGXCLi50i4G/MxBjqpdRrBxGRpTtAjJsUUmTo/+fxcVqYM6vSb8RTewokwXf8OisrQabuKSBLAniXiyGmsHS6LVv80/OzEiAI80UkEZkfMkhhXtLIBdJruUZIR0/NAqR1iNhfwbKjCfVrOZAHvM/p6XBorOJorFRn0KMcpvj2w7yRsZrqLh4qlSWW0/evjZSVS/0j+QaofKpmDVAoOjePoz/IW9+JyTzj/HI6i5eAFoalHDULX+Xb2OfkfGX5n6PlF57ykjZuvsA6bQzd7uhtoP4FYs0IsXQQX0Jw71dHHFZGLQypxmT+X7BZSguh2aQ8u0fSSCCsvqUEL0GBcsoHPYeh1gVEMTO9w4McjafQjC8NbKT3rn02rpLGk1sJgQK27QJan/YJCMbtCJVqhy6aGrxiXBWoaf0J59SFF1Q0EdS0/qFb24oGt9MQG1jU/ZCwUuuibxZS+R09rpdvFASwMqP1DSmiKFXJpkuJIQ5VpboIV2ABnuRxjSCgQXh4D7Liaal3+zbvx7OtYJ2dZxdVEJGo8QUK29hXR2IFiBwiXbypmW4dLHxCG4xHBQVgEOmSdlNuPYVcmqcSlZLaWuEZF35zr7m5iGDUls3QuVOQoaSnJ43etFQecrS55f1EZ7LvwTpXl2+1uUVWPZro1xV72WAMYI55Bm1v8CI/nRyqNKVWKs0jDIvuuq6ta3fWar6RLrWmVNUyFXhslJYyOj8/kMgn5gnu/M0l/s2V6R1Xmut/T3KniztB49n2YIt11Xe5XofBXqWdrNbJGU6Ja9+yHHybnNYsB1/rPXJdDM71bCQAH0/Nsf3Ehh+GQiMz5D/v0Dcvrrr50cKy/o46o3KgH+zQsVQR/OVe7xadvq+2j27lX/VPfmOzZxCtBnk1BL6gFNCrVKiEdkvIyaiJKoMRZANKR4YlXfK1qTa8maq3ZyY0XWk4ZcP6nyrjYoLBmB3XTM9S2MTUEfMm1tJqMJ6f9u+clLcr1ks4rPZ09XZTT2BqKwgz2dibys/YqvwMqs90KjwZWPp3QCgZPqADD2YjHWBab7kEU6ym4abhFVAhWfQnZW+nj68jWBDGHwOB1lJfKQOtRvSyM950CAFJF9v6SWRdpiRH2bwM83WIm5JluEGTPC77UMO/7mF4gzY3wtEMhP7074dbXoq4uwCvC9c5pwpnsk5qAbH4tYd3LLQGTjTWbwCiJtYzDYxk2Fr2Fqef9QsGdVF7Zjf4/b+l39yJYifZOB0Z31TIQABHPfVaE+KbvDDt26zHsjj47gylaiGYCqyY6JdCgspb0GxdVSbtyQ+IVYzPNtRbntLD0XDfBzfESz/KsPiUUdpywF47Avoy6iv25gTbyhzzbFLmOKWOD7MGQ8LC06aVOoz8K6fv1m20h6el6+rXAza9oGAtCQrm+O/LJSsDtYNDUmWVuPQpTS99vBdf2vvyLmw/3iwhHpVDSI7ustRAGXaDyC2pBVjhjpWSer7cFTaKV5u8jd9MQeyAB4Ob0QRltcK4X434mmpn1qnSHmmgj8T/V/f4Cmd1b7UG09qtIi3tHxpSdd5bLX+M8HKpk8K0Vo6d1TdEVy0RytbXOmsoZ42vooPWFOxYu31L1iWb4o/KkiSuogbfB+CYSR87DGR3YpBaC8SoHkgAGxuO+8BVopG/ChKu5HxShqoaDbT21rzXRe6tmQG9vrn53CEXmcjVyK8mG6+KZajX1xX0EO4xOkVHyVmRSHhSMpOv7v7Rk8SUgf5BMU0rQnrT+F8hxay8SAk8gUJwpPg/R0GEiErCgp+reLfYdLio3RwUeVxToSj0FywjMaN7VbFUzMV+Mb5MD6qTpJKqB+jLi6Qe3Ci3po8TKp9tFj0ARxCXnoYvFacHOzn/oQ3GO9QqkXv4ryu/sJOGrwJklSOR56CYvAlk9VLmLx5/pEm5CHRNMVN0rFe4mdL6omhrQE98yygN+B59zFN+uzptNauFoXfzlFU1YlopnIWUJL+ioM/FA8F9ICrR4/FfisglGN0bitQMGbljKas14B/l5hLqQJmniuU9Xw/krj8r6OUzpfeznxEnC1dnw0xBMO1YNPnj/M1toBe+brxuV5+uGNfBl8eiBZadMP/EqxOGSKgQ5JgA/tUqIbJJ3/AgYy/VFT23yfNJSkgjlIPs9ZO3nTasMNzxsWJTxsvFqs1FF51e+lAKE+iwO8scuCcBDBs0MeLrN0P6Qsjo5AnWStO8OBA2jOaOtMYZc5GriHtj03U4D4xbWVYQpIzBCO1/waVFJNhUYzsyc+BYPYR4rnl2z70h13bRScoR2a/3RmAc18iSna0DEomdzbr+vKRgPPksBGM7mZrRJ09Ks6EFUR82chCKIVmu9ppXbRmDSP+jGvDZ7yNDuidWSblklFs+8V9OK6EV8BaryNUaert5xB3JX5RF98jRINj5h0T9g4+NZ8oHoT6ch7F+aRnCPXyesIsbJFMHnf36NIsQr2RrskeJ68aDTSzKyZ79SgWNf8el3ASMQdq66ctkwFktrO2A5w5GCDfNL+LjJrwvP08qIqZZzmGhG+BlHdFpLpRhfUn3p+uJ0LaBIoh4x5rxOaos1tHLqLDHgjn66PjTMVMxdx78C13GQyPbqS894kJBMSnzbGbwrwe0zgvWHqvPoW6DSlkmcUFKIKZ2UwyMRqeU+S710dIHyUSnOcLYTk0jZOcefrrybV0UM69VVIR9cE3XmVD4jRiQ7E9uCwfmBH/r3lu2rfPXQysUe8DppgD5yUyYHQo54tqAdBBnvgwVgdSG9/n8KBexr9297Kq6YmHapLXEttE6LyYWpqbln+VI+K6ErHvz9ucyiMMwYIuxf7bdu08r466WEtNpAN08G5DleXL2ipZojI5wXn1KKo71Mfar6LL0TZ/JBZ1Cr17tpDr4QdTBmiHplyzxs0K0Spxn6pxOLvXVH9m8V9cp/iquE9PIUCck3KVwFDGpWLEuxnZ1CxC4rN9ImlQw0usr+rmYcYLoVqzLdHyiq7n03iXZF/64e2A7UeEf2WkFeDQRNkimvRCuvmT4ONWOaVgZnJfpYtqgU8C0j2N7fAqDy1bVkgCAhcl1JBAvC++vRHsHMCaYBCPkyTLwQf1702k9xnfIHGD+79GhH8A7Xfk3AgqIp5zgRNivzVaJ6NR5R1prowQ6IAjwij04QEjh/TCA6d09RTUzc16BUH1On5szFPjvMqxACWZg3w/03L/CIsPAzT9OkSnjPdaRmXCQW7CtkRfkm2AJ49zfEQdliSoqk3JTAsV/6/sRODow5tDuoWlTQ+Sy7efS+1MBsLGTiO3a1XYZeF9viYxUZSf12A49UEnB638MLI0N7OFNyva7yAzv30Pu1Hdsat5AIs67YPxVFpTbVSvhnTZiBoA4vZ27zutQZo4OHHZ1MublwOQ3P1hO9OIY6Zhrg/nTpUo7zk9+ehra6jN5F6a186L3k0wMs3wQmkXdTd+uyHt7CdJDL7+3yY/Fg8SVoE5TDse5qnqQ76dHPN1o6aSuH5bDlUCyNI234K615MGeavyt1fCiZWTHkdZg4KLhrQ0Z+A1f5rYS1cvs4Kitit2GY0Wd6Gr3rcqzMm8J684O3uSTHFO/7AfWqfxEP0ljh4paqqYBUfiTbh/O7OXdjGxnG/Z6BHVcGME4TrWJZgEcZr94d60tmPKasdWd32+dHnr2PVekH3z2hY7UQFbKEj4ioPptuTp68CCXZ1f4WbA6nTjgjb9hgip05RRhbCpIbbANTWBJrtyFAn3/e9aifYV6nMX1knmMlxVtwlc7d5BXqCvSQnnVMBKNgZsedYBNPbFNSbWt2KklwbIBhSNcK+85vQE/Rnli19scr8T3KLqK6I6WHh94/IXjeptN+CuqEuUDopaP0iLMIz5ozbf7BpaHtDkWUJSK6d2oBR6OUsSqOe5B2pc2jCOxZFmLoB2WRsHZiMFm2U0oYfFrvjrPQYLQ0WDZi7tsqmbQK3O+dytnCOYcufhc10/tu+X5Kd4/NopJXcDSKiuDGAJPDywkURb4gJdKsZZITD59IC3kSjqPdX19iJFsiOvcgZ8FbHx/wY35GaTp2zWuHoqk5VIfntjgg3/q6v105/OQKw/Qw68TFoToiCs6v3zjfz4RYUyRpe4dgs/yN1R6RW+rfNJUA2qacCNcCQCuE3C21Xxh2AJDMMAcOaxseJIsMSh3p20M9CSpM5ImdB1SrYpq/ylMHELCVacENfKSJ6V186ILhGj33FpeqSWfWJ5EfoP0vmOCAMdiwGfS1al4u1RP1CQ4Tui+F2+IYi3fHLn/78sKeE8QLgoPt2UtubRQwkG2yHO35O7vAqlRqxUVWMt0s3VLeuvaQUmrmutBStDg7MbGClY88lh3CFnj95Ev7ZjfgTJaq30So7Er3NvPmiRkdXlz3Qi7zDM/qbGNbhnbazjt+FMUVf2ZsysYfPvqoiTce1dC10TGuEFHlTAePWzK9Ea4cx/3XHQxSRW+LPvGg9X/ai9gYW+bpQY5TGeBVGJbfobLWU3C1GRBhVzEB5kM5N/EIktfsF+kWpiwLWNeCjndY+xoVSBNF0JpYaODFIiGyZrvE1X8k4Q3zWtf24zb6uAETBaobFoSWbLFl4Qi5SXQagvcgHDeqCg4/lwCVH7x28z/tkH1RGMGdqFAsFWrLe/1fPC1IsT1djNwyposyczU5eA2KGqdxj0uc88XSunakY+u0dCDfX4a/ufipB4bq1ExdavpcxWz3OgDsmBYx2Cco9J9dRiTYhNH8R6EgERieGay6uAYbKLFwwoRpnckSPF9bos/mLZXwr3V+hBbsfKyV5U9mA1+CBTfGsV1ZN73V2tZ1Gvy0PDNDMr3HkShifv26v7Pbcjl3VUOpYhnTUbdo8fg2a37jOaw0riocIQL8vBamE3nltG/K+eBTq12sdCtd/OsF2+24BMR755OSTrsQKbtIyYQBwFQOvfLIWLFRy98XRcPZxNahFMZ59OBWRSnrLx55DlsQFSPiIAuxDFSzhF13h/ZfqYFdOqBSbz5kCvy7Fg866Aw/DZZOBTyNIrif7YoYyWO3RckBaZDOMyH8KfFRXxFw8CzzwEs/tXAX5id14MSPBJmEUqmieTW6S8jEJYWtWQbwba5VTb16gzak9HR2BJ7EVL4zqBzPwl0uttWV2GAFkeNJLykymjdM1fbHgjnc+zBclCfms5fmDxIcbkyOozxbGDgkQRgQSFS5e7VZtoX9FyYQvULbSd/FahU6jkJ3YvObGQMfCHqM3Xey5H5mvjEpTG0jRRHQSARUr0dRQhCYPieTSp2jXbKkanKfAUka6VNiEYbKWupL5AfX/dleJIQ3gpcbPgPJippvNXufY87PGFQXm7zqnHsUoOUDbegL/8DEV9Oirkq0VmxMDTLrjCTsYmshysGD3HXPd306cxtkuwkfKNl/qhyff9X4eAi6FnGjtKhC+2g9XM4afXsBrQGy+bJJTA6qK8eQexrme0ZM/rg9XveztD3vIPpJNjd2V7oo1ew6Eve/UvaMIVKNalIYYInBeQaN9Y5oX506ct0NFrmLPx+Qpyw0559N1ggplVxJ+uNQ0N/x0YrLUXQSVWMUHnDyoLtymOzg4awp/lQuM2kQwXUQhSqkWzzvU5e2cjdAbGdsqqB2HlcOBPrgQm9PiVV507anB3GyhBFLP2V88BojSy0oADJmx+Qdt3fSn+assna5KVEo536/CNfVilaV2hW+yZGXqCEuHiUwDpiyvj+I41WIZexBo150ygyJo7ud7+PK9pZFXE9mW3nEgyyNMLXgsGVluZBif3LFr+Wmu5yzF1Weex6G2nZog98Uou08ZVvj8R53/f3oaGSWWUEe+wO9wl4X4cw3YWIdGwXR54tFmBQ6Ojvegij8pbJfbV2znqEFzv7jzBsz1ECb+xuSFNgnUomQBnf1DyJmutlZunRTknw3uEnrmTZzsMoEV4PyDLwN6D7My7j34On3acPxfgvERCDT1F5A3SFXmQtJHRvU5J5ZVBv8WEdk6scOrvLVJdf7Bgs9Hx4wBw22k9FKV+zUqxECRG4BrxvMvLnkGdy7ZTJIqLq/AOHZ/3o9ktkkdBuGy61eOCeLwDe4e98ofI/s/BoH0bJYGWjQmLEn6tG6zTE1W/ygW21Gjyjxq8tlUhDS2eA49/2VQC9ZJvwxu/QQugCZRWA7R/WocsdqXvWXBw+51Mpd1Ft0zHhh9UzMk5+CLhWJD+E9l3nhwt4xkJ9VdYcPVAVm2Uc5Ccrg8ViYN+0a4qk6poeJ/Ots3nCU31BU8R10YUR/wqaaO74gzckks5P4E98lZFWCDmpGlcnrIKJesLaqCIpBPjiQoLJpzLKXDkMQIa4ZYlOaXv0iN/IJ89OkVCm9ZsXzEOBELI00PA1zoseVng4pE27NzQGDouxlJeFyKt+60Jb+4tQcB8nbGU+QimKbUXb3uQ6oRSiiZ/BQKxDt6mw1/L6B7XKWKf6tRyPl05PJKhHopYDkQw1EpYrDXB+KnUu8pEh5jRNnxR916qr+theR3ew88A7kefhV+R6i8HqnwIGqci21NSlbOTDGRHqt2jZMtf7UTY+Aa8EHvs/1fYS49AtFBx3TGrA5bjOhcdc96yFSneXvyImolXX4Mzh6Rg7ludkBcBbpBTQbB5mLdWA1UE3LXh1V+Pp21L567hQYKGzTLN4/TQqgARU9Qj/lk0tb/tjOp4OJgJy1fqr2D09sRtZE5YtODl+U1UIKGw4c5A0R17rsK4Cuv4dpSJz0hAsrlyQo/ODfCTc2cFGaqzJfN9hHIeqmAaVLFvc2qvC6ZNFLE09U26OX0troEpV50sfQiKF51noz2MdhWLIYxjEC/VFBb5bjX3R+nuwzObGWNinqNUhsSXkZLhxHwJm5zfQDiQu9mSBJkj8a5WBSyMyKSKI9tiEQnK3z+nG5i/EkKMfgTTvcKaOYBKjzPrerCX5dsGXd6AVT34yICdlPanjL8Xxhbsb0MiDVqrIzGCqvV3/Hb1+Ioc6MLHyi60n3QoExAfdnRuDVkaES7PUYTj6aw0x9vwYZ0KHV+820MZuAKe8IIFVLpL4coR0ngCu15HyN3bqorOLWssStbO4rTZsEfDRyDx4xT8lRTA+LTY9YVAZFi/CLkP406lNaf8upRHJn2Rj7WpyNGG7jP5LG9rVNi/pCnRdJN6Yjz3N6VjZ8MgbwaK84ENP/RDIfEkk3qlcV0+h6K/OXsrxsUcx4RIT1OTjNlw+X6cCGJGlqtf8OSKGl5tszUwE66RSYb8mCZkyCSNEdNlAtkiZ3s78MOUD9Jn2cYdtSW2g4Y1hk/hfQg7QTZ6A/ifVdCu6H83kf9kU0bVaV0ISle+Rks5ysf6cZQvRfVjB7PvQNFOtC3Fzwk9is2kO6urc8I6iHbpik0rkPgdLY5OgNnb2gbnoVhJblBoCexwLQpMTAplJQNqto99f4sSZIfg+1GK2JBujJH1xDIFpcQhM62g8QCQ+fAN/GCP3XonFFHRGd48rmyLUe9sSdbKi/Jvk2mT3Mynuszjt3yWGYqF1ZbTyW6msyXBcd5HkWxSPyeRTDZJkWiG3SaaVx9aBd9mZsuYmbQFcIidlmnkGk8cMcHnoBp9mpBcEJT69NlYEehbav3N3IySAADGdbsfOZNGKw2lah1crYQERHyuPuKMFDhM72CZAZGeu7l06E69bQI0jHinr0KzGHQg9Z6r2wJKA4ugIP4caewldVL73m4Tufdv5Umr94AXBG1xT9+qK/83GdXNmkoFMPmTQA5xQ21ied/+uupRTsKKBbAE1OXTQjRi6ARixiJTAK9NXpFraiy1xq4KmgfKQcfin2tLa9S6MKvxgzklcwYKS+E9u0mAcxS3VOguM4yRYDOodynwhSwCOJ/UBimLtrntyq2QNVjqH0MtScECvrcFsoYkJ6xPSeNgChQdj5G2+sXtqjbQTtbYTMQhSxtvsbK1ptl67Vzg1m9hrTW80eHCX5SILMFEH5zySyaTSp7nTIBrdarZ1Y6SaVeWmg/z7px+3yMvIwWdN/UJvfqSIOTyaSEGcw7FgsWs24rCjcHbcT284QKrG/OQz8C9Lgtnc6sEbfIcfgKO6JhVYHeIRtxxDEg4BJ32jcqI1Ks+pGGimE6tbxgrw1WvaPiHd0vtcGHBEFucq44wfpZWjnxaO5XIr3MLW+5oPYzZIPfTa4LSELl04mh4CvGV33jEnGNGa08sSSksOV+Ge3+ZTkjkTO21bMMlQ9azeKja4v83huNqM46uimlgarxNpyyHRb1H0MwNb1zXBgHAtwQ65Wg7I4qFZBfXHVCINZiHmEbMC4XA9c4R4Fzes85fxgtmuvk4TSZAsGXupvoAffAjYuhUf+N+L/SPmqDYs3aGnIh5b8KSVPImdAyZrcqnthDBae+AF8P2X4heUvQTGxXEjl5Sr5rncXC4YwcTWTRMi0MBTjGnXlR3uMi5EmZ1l6ovu7pF3ZLnyPqpo4bKHJCJCzKydHo+Eg7HbGR9mWI+WFYf3ThWDTcCtXWPFRFchWDa8dD9h5jmbjRDZLM5Cq1ykVQ/0290F00w0Gnh3313K/WYwWp9v+cs1AMImjNN7XuaypvZQnGnKmcAaSoCsREtAFiyvHEfYifWe4fnLUZrVgCXVtyBAM7I8Y2CvNkS4+doUuqeou7aT+aPuQZtATeMHArPChHZlvggdNdrv5swXEzMmyBGRUlcWt0ky48ZYrCxsvwPUQWquTnOnM39QM7c0UZLsHUD3+cYXoxFP5DE9rhrYvF46zExdx0GAhXin7UNn/viRo5M1PlN1TPb+Z3P/cd5XL6oHL5EEvEMkd6bxuhW13QlnETSZo/4x47M3IAI4wzHSsasSeSDiNhdOT61PJ8r8Oy80BY1Q34xW33//W+3YCqjqOvFZaWAP3s8C45olAv6j19k8KOVyDhSyFnoMC36TXOncdBlMq7pzoZIBgpyHjeP5h2/52mA5sbqxLfS5xugsbW8XL8wy4yez6ItH1eAs4g6rMwKpe6sKm00TkwM6dOMPNfdY3B6oajt9JXdUEWl7W3tTXp9mqrGzp2mvdoAoIk0lMIiNl0sJHNHLKBaMkDhLKAE/yNWiZXWWTKOQft3M8naB/0nevN1k9pBN+0+ayvSC1nlFxCke2063FL42M8g8vpK2QatjdQJfFu8U3qqfskEH3XVtq8ItjtlI5cll2OyMNhG8nExvl1Wy/1a93qXSnod309FM1Fg6Bqb3s17uULphYNDIEE+VNT/t3iNOs/PJeZSbhXecpHEYpsBoctgJfMZkCZrEiNdxRzENmBN6WNf5rpebd0I1BbuJRWlT8KiUhf9sXO8tFFYRrDyoYfPfEB3luJK0dYpP39l6bGpD62GPYvYm4hJ4+KCb8VFXSclDLO6K8KLbB7AaaGlccsysOOIKEOpnQxmVeyuj8Y5KvARkz8SkhfHYAxRvx7JcvByLuF37Xk6PQ18eO6GJ6iNRufsLof0hRlGkmVw/c+DTglFY+cLZ4Uror5TNtyvZiIE+bJbl/uPtBzcGVipEh+uxtjdYD6uyKGxdYE17bC3pzPzGHPBae3X3mTXauxxh4pBwTE/25YavGH3+xI9ryV/U/s4i7rrh1nA9e7iA6Ihdx+1vtxhFchV3KC9plOvoIIgsRS33s5EtyupCXi/DKRlrmbmD/ifmd1tiPPSoLSvdTGCgUp9B61W2yq/NGvoH+4mt9CRXKRLqYxknI2zOjzjJgIefNWdqsryWPURNnxrJ9+RKgWoKibtuHBQUspK1jfFfSVG0k+Y1BepmZWYnuo4NC3BFfwVqvGoKYXSxGU2xgP6AUG35+ERQgu11mIguqmBL1FJ9iZyFaV2VDfFmBQHvASj2PZuQT2UxKzhThzN854Q2cwupLAXUqV5bCui7V3AwFc5nkPVdUtuPWCd4Dw+AoFLMdT2eFvy8zN3OiU5WgbEny668Vwk0/fp+e2latViPfZnxoIV83lYs8pQJ0McsrvXRlS9lklZbaRD3puxvNgakrfH148WUBJsIyhR4v6Djjn2qLjWmUIviqsUAAp76D0KfLbnCCeMWzdWq++wYErYpp4ko3Vld2nyOodmZ9XYNQS/d7QjEn+ycab2sW40GJfWV+JGqMGmzsu/puT61v7qU6XhNEhv8JNB559PABUtpJkF0eUUSUU4Y6BflexIX6uPgDWqmFw4mLDdqh6ZTV6yax4Aje5kaX1HN+50LSl8Qwsf3Hw/4giyVhY9Ubo2v967lOvX8M/qQrdEKg6Tr9K4oF43EqtLegcTeIvJO5a3qZa8vJwpDugC3fvrCfqPcXoP/aDsr3HiYT806oI0QLpYd1E01QLUWjxf9y9gKEQxIwgTz9PQ5t7kYj+pRoicDsDl1LeJFRVS1LEuXFOwsD9TNHievaMCkOvGvWS3VYuYtC+XY/xlfpHlfpkBTQBAs9idxjrvqH4MbfjGD9DZ2ITAnnjD9Jg7ruzoGI1ckSBCqqZeUHRrdp40ZI1n+4cZ4cyXofbt1D0/VS+itCUOByJ7Yt9TtRZhUcYIGUXvN/BMVrnqBAPgdewiFA7ai4K59X3q9QKgtyqh9f1YlsVFZ2u6FPXKLiBRj4CcD/ZImcZNWXQm3nCOUN/2MXD9vdcpPcNKtlycfKjQR0n44ohlhme99OsmDZzfUieK+nXYNDfD3HMInp74StV3qzaqEv16bB/XPJZ6NCYV/nRhNpgqJG7WFosRv5sT5az0PZbHo0XtIDycIKry0E/Z8pLEC/S9t+n95LGC/hOaQEVVQ3koCcJuCefe/Oa6tGh+fzf9akCClvj2cjnKzI+KckHO8PHra9U+mqZg6SfaPMseH8CQgEJbL/QLhpGmYF7mrbpmiabCiBM8lsDnulyeUVHKGyzCFuGEDPduutoYTQgEVrRp+FamkgTPIE9Dk5+TxbMN0Zypiarx2J024VvQlACWktbRVgor+wJ193bgJacqIiHu7SzZJBEWHbgAwVItsZ9tkusRYISerB6emowTbWHCGnnjki1rdtGd0D9AuZoK60zilXJrDH1ZWJ3o8LqFGEJamlWnNgMUwim2fQqQbJv8KioxpqrSmExQmd7TWWxNNpL1asXiCiHnTK5fpPHgeAj+G5fNyLmaNoAo3mGZs9uYXVaIRuGyuZf9eI8a2+EoftaJD6pnBct/kVV6IJKBxdAXFp0PdEPRTxAQcDqjBL5H6Q4fD2dkk+E301+ce1h6k1W9tTPLa1835n24J4dEwxq8UR0WcGL7ORMCzXcOFUz2J/6ExC1BjgZ2KpMtZ56EtemL956U4QpLlmEBD/ld3PxyS90sxu21rZssc05EswT2UL6KJDsWIxUqjvqMfdZHduM1ePTLt9wXpBJ6+d+CWvQ1KPEOWXKmcKdXMGQUeX4l+3DAkcmb7tKR/wq7X0LHbv8wEregZ/c0xyFPW+txy37JTPF7fIDdR6I8f3Hxtz1Qmwn5bJJ4HkO4aL7qc7uljQ72GSYGPC0N9zyC8NncnGgBz7gSVn4p/7HhrB5rkJkwhk9TUtsdYiN82m7KTs1KTl7VHW0PkI64/QhxkrH2WeIXy80XAEUjbXQmqk/ekh5inffGSpsucCk5l4hX4gWkDMrNVsYnkUi5+aT1PRx02u2zpNa1QNp/YELgHUL4UsVVUSBS6RaiPwK2iVeN67kKHvHJx4G93gKMO4vzLKR+X++9I2KOBNIfuUux4jeSBdtr2uetyZ3zn5TabGZbD3mj4SiDhCENTUIW514NEleiFRS2m/3otj8GIWbIyxpVhgho+FYPCsxirhZ93NXM+GNOrGTepxJYl4NA6boHtLUlIC+tS/XTL59Ijvvn1UI6d94EedJbl3bE1M/Hlz+nISYt4BEwOmoR5p4Vg4ACGVH0Z2sMbQ7fWjVkZfrmxsL6tMyZekSavBC+JvAy+EqvvpYrCdK/45Zz2iGJQPpVqNlAuNqNgCOber+UtOPaUiRQWOTBakR+dHM6vnL9XiZcEkXrQXSjLvgZJdLE5mSPmxZb6PerKkSRL5mZjPfde0Z2LO48LRpn5gFULfASJjtX3PjWSU47+hki5uB6Uc8TKX3P5/bC745p8o1VS54PGBbN2lnuC8F/n967YZdavYJUiFv90rDbIaYEVsBk/G+522HLpgHCWudap3MPVVeq6FQq+Ma93SuMtEUvnYlvQtMgxLvXUgz0JIIy1ZvPeufzj0fhmR2sg5C+Y2x6hL5d8+z/eLwF9Y8eBVb15jjEZuZkjqqY5CtIOykMKvuDSxaA78tBCNljuYwpjUEyvV8dH11oygF+Di8QYSQ3slnCsXCHizdUMtWHPd2EF6klbOY9CGOVHVDeuYyVtetgEJVWHr8EX+tBc0cFm7en7jtH4Cpot8rjYVP50LXwUqMXtY3sKTSj0A2kmF2Bfrt7R42o+LRz8ab0doMLwb3PUowsetcB5CwHY2AZEQh7cPrfyCq67uFxmDcK1xaFSB7mdLdnXbQDyo6uC8lG67CmqdLto5pUmizjiEBljsryrq0hOLGfzn5Gu6c1obdpDLFMg3gg6SHzC8TdpX44Wo49PMOwDQNhWmLy0MTnccZBV8F1WhT9MhfW1nCz5Am4oAnLG7I0eBEEUlXRfivNaggeAhQD+HD2N9AA8bOaQeBsE+YJLIwbsTVLiv4nrzOqsx4802uBHHQ35AImOIXckn59g1Vh1tYgCaAvwl4ha49X0V9cFpNCWibQ//x1lF5LW3aH6i2XjAQsrWpEMV6nHBGEmpYJH+aM+UWROyQuMImVY7YENUaxseZ3aJA6x6mtZT0WmLyt3AL0RFewxARCsEltiOQ4+aLVZ608/g4gurwkgbG3NmdW8Lkwv5PcTFjNfIHRhSjKKIR+2rQTJHXRpxEueIDzJaPXpqpZeenouv1BJVr1SHlIdyRB2+mw+XCb/N7FFF8NYvJIOT03I1KdgVJZwQGSgPIiixXvwHLHDKfXOJxPCPwTxMhJA6D/HHCsFcCNRk78YOYyJp0zDHV5P9SvWSmne9iPoLjRLvjQfnCduW7YyX0FuwIas765kGQO7J8gSvuIr0ZhHWlaqK9rZJCnTQGqj8A/n805MpwEJRAqwJ2vxZfScp64X1hXsIQT72yRFneh4VuPVRnLW8WaEnXnBNHzWSwUKDxQv0Y4NFuUo/2naHiTztJVpc6ZeYXqWm1m+ikdMI2sP+GohdDe8SH68Vs/uP5/mnZtHJHG/jIlVqblxWYvgdhApIucGEge6eS3RdoKz2GklcpreP+hbhx4d/4bRwhiw4MUKRPzJvhis1LGbuMcDHBnwo/n7i+1sOXpfrMn0liy2EP48Q0fDlId+fyfCKSKDchqWNK/DAu2+Ma9LHBW4q1SGjw8lXKW9tvztpSwopUGdpyOSKA8O6aZ58cwQDSN0ufqpveUS7DQt+kDrYPp89ymcQEJk8yh59woZ4t4WbhQl91szc+LfOngv/IgyUb5fCC3z8pI1YOdjn/n+lotxGmpoI+T95MjHELMZn/VeAvRm7zeYFvuYL+ddYDdw+DWdgBpUj6eJAa4RbtcUWfKEIdnYdaWpC9SnNX3LFVh3Ac5xAKGXuoHSnvnYdPYsr03MiDlujyC8xCHlAiEML+x8yVzDRBB7wfSN6eKb24WMgK/u188jSIl13uUWUmC9f6Uq1IHIEvn6/jcvRUoEKMk5eDuetIZUdgU65bnZH1iYbZFHoVVpSgCIJxCu69ypvNUIKPp7j5bncYV2LbUn/terTSPaY+dRpfd3GJtsB+QRUAvuPAypnPvy31SDdpJbCb9KwVHVbrh5b4ns/YtXQwCvvLa4fIoVlEUpvFYO79g9pCL4TGjfzXzihd/MpztRzIMCgAf23KN+/M62RcyDa/0uj6CwUwsHAG2RtNQGv0Q1k0HvP5S2BSfcaTb10AblwZFRZ3ol1D0uHVZ1bOnIgGR93jjqgW5g4/KbaCAs0MREIHNcgCOdAYPoIrFQxvolW71BdE//j4f/DfQ7VxLb2BbtDKEcWg8F0ev+LT5vog60sC9v5GJSNggLFX/gz1KVS0Kk98J3MJbU0aB0CdYvbyEv3ggUi6uY7mdsalGHOw/8AQ0Ph5ut4kqgD6pCGldw3g4O7w+didOr5Za4Y126ExVoOx0XZGv+Slf4a0Vu9JX/KjVCHm6sX+Z9tIs0BYxEoyzBmPvudpPVfGlSHtIwOk+n9fd7flvUhvHzwADmSylQb4B3PRXKfFZZcr8crC5PVNsjRIsLNkDHFg8e01jSRLPRQaMaIDHdfFF4BkEePp1EEfdh8MLja21yCpirCPV1unqZkZbbSxnPkDpigzqHlEmApjloeCW9fJbhkN9rdg3QSPewsQ7OuRNesB9N6gFFMFDV6vOPJZlvc88T6Y4DKwsWBAFYi4P8dkJN3gOfShzxJSygIitB08XOsfnBlhkl8JJcq0Lrxaj/tAwDuEx/Xa3eyvgFOZAyHGC01c+nkgVNsOStZExHEiBSZ9jvyqjW0fPFzsFe1R+TvtE8QVKejvB0Htk7TzXu+jokXO0b8id9BeusYZQlk5JA/conCI/0l5r1v5ZmsulcYXLmu/Y77TeCuK6e5x0gH98p+XYDPCzNpEtmLyfT0jbboaoYRh39ZHusFHj/cVFPS69U6br/hpzRynPm6ropgWR2FyK8gGlIkLAM6FmNn+l5n/CiYFh34R2uSN78KCIIb5DDeitHGzPSFFh6LlRL8LQwQ/x0CTKbdIBgsHf+CLIpKt1Ia3kXq/95M7ByEmFWvGdNIq10gpdEeZuVBXg/PSNa8mvOFIQtZ1MapDajgb9e0je1MLRmANhIi9BJf5RZaqS0ryDgCL3VjsHMw98Xw3DZ60n8Fd0cojFVYwdJjE7i72ge3UiZJ973FHxOXl1RNOXrvgp6MU6FNpvDsXf98vvYRZ9xs00rZblNLp+MgOQsNWXRWTSGQXFnIQIcKOvt+u1ech+NHIDokVhu81CqAsDphNj8kkEctiwAKm11jdBACIjWp+ZQkJeFYwwFBzZgZmwsfPetWIy4LtE2ZzHMYpYyV9NYNupuKKOBkGKYn/V1XCALYWvuPTNDOBQAENfjFhuORUX3WyB6JiJhD8CzYRqhFAtdMI7TcyXnHvlRDXs24AypdvdISAwAE4tPaYIyw6juHAHPG9Sw8sZNpHP3h3nmbdAGdpjoAXsmqdPIKLYULSq6hMLwB9dQ26/S4PqcDeYAMXGMLWnHf/UIGkYOSZHb9I8ulh6PGvSekQQPzpUSeIFdlnBJ9gM9XzwVUWrYyGU5qPuBHuv3+0pdjmb3FB4aIOcKIoBzPb1PbMNs2PxmxV5hag11YJkUBB9f5Eet6iJ4cxYu2l0UVoKnbzycXGRWwrnqDgB7jX4Rfn8HSZmOSo3RWJIFxQMn1JIXIMta8iOMvDG642Sg/y/f3utAIq8KUxU5RyKknugAUtfK6J2PElRgDcq2Mf3oLDLAEpSI+c1SQPy4ekFazeyqFGwa1o66/lq37zPLYgVqalwqRNYMA9Kyqvjgomy3F06fel4ORjWFZEr0MGXoA7zdHI71/eqzIVt0teA7ipxBKjwxA9oETcYsMQmErby8YKKlEAJprEJeR0NJG/tH/Tcrq1GHT7enXrjYY8Vedwl9cUXGH60IXARehDcf7F2R9tOtLYtaTddICblpzM7giyZOBiAItoet7+XFf7qo/9iptRxjzuQPfkDQE/R0K4R4fhQBTiUEQ6lEO+pfqFfh59YLVaeF0GH6sClffse+0L9x8xuwAuyz4Q+E4+qi/oCKZxtdQBcc9UBk/0tGw3J9UjAcigkT+oeRqTOMfbETcZMvdCpiQj0RhJpoDXQkxgDdm91Jcp0+wSsc6AIyRabIJe9QlYVhElyqxQVBh3pMgO7rtk59T5VcBkia2q6MqeuMHbTLmtc7RYUVvndi8fan1Z1tBlfNoQHfOmkJ2TScr/CJbSO9bt+n7u92o2go91iji+bEsQybLyeYReAguV62lJGLeHq9remZjeeEoqa3S61s3K5ywQ5B0Hjpr+S/tvJW3MXW+rGGSRfkaV8KrVfJR6ljMKtHkTTtEMgEuZFxR34gkB3ozJojymEXW9QeuGuWmLmsE5Yz2gFWwhbk/HjNmI9aUpZOcorviGDpHFOofl4yb1mxYTAPEXAA7tqZ+96bd8vCwt1WocAdF9I6KJSJ8zVNsVomSqqT1SatDON+Sxk9lSmI2UPalHDWXLfJgVKcHOix+VYVILAY+OAfqnEZwMx0pNy6n0Auk0KE299xn1DPK2sWUf84lYeD3k8zuhjpZp99RheOwOdjDCCFOvH6qOCLmwKl5O0gXRk+oiRsgm3sy3oDMTGWYUXbX+cDyjTKeKrNY2m1dn1y9qTiJ+hhWXwxDZqGBXt9buRU+OapUY6rrnWuwYb1uDhA3rX6Xz6798jeIxZqwqu2ZFNEjFQQDEZmBBF/ATkeeEeBapF7mId51915+I1Rgdfa8uySA530N7aYEmUIaOJcaF+KWlSUImWmOcMPyVNdj7MBxVHnENmksiedTYXotFlx0Q4buqBUce5XpCHqbwc4PftQ+cH9ZePIzmHn6Z4qO7JxEiX8LYnmQWYDlF6vQJ2TeXxPrUzjOmgKxdlxhEIw/Um+xE3HyxTnH2Z8owpyFti+rEJvNZGAXTA0zkntvn8bgfxKFZvvOR54EWkYyuaIY7zDmIPNx7WhSgFtsYun5i+keukrlaXokmWmRtt5VToDgFXnNG5RYhFNP1Ur6amNc7UQlFZ5dPJpwlmWU8F2JKX/EjHHFU7wHARg67C2GDPm0jUBAGLhhmXr+79ANuNXuiG+/dLAQsu4SzGU7YFII+EnKBMKyx+D2UON90wWI3DoTM6tMdGYWYCv6u+KOh2tNywSkIxnHGyMt/RholHPCC/OF1vbXefUiiaficlZkaMfAQ9SWuhp0nuNvx0sjUiZf9sTbCjK2EdmCUE6ykVIhxyiADEpYwjlGSwZaxa+2g6W6X/wiJJL3x9G/CkfylK7AMXgjU9tg/g4kKSSkkBHST9buWXI+zBffG5mD10ECQSubZnYJK8R7SeakKE8GsdyCp0XYRFBjkBp7KXC5QSyJzrJY2MR9DJlP4j1pL41umMUX4qyfDoRdclkiAblymlToHZbdhGgzfhr0OeQRWpUzAhYQb3sLfyb+nfb/rB/UcwRDL/Q6WEZO3Qrh58pPVJy74MKUIkXc/fpjW6kEjujtGg25gieglgMfCWbAQ2j9zQx9ZvBKGHkEA3z8q83SSISwQAfb9fb966NJCdBfLwSKetOS2Xqf2bIx0cillSRZb+DZ6P18ZM1iIiaqs/y5lALj4bm3wir3QFLK1GLrvODR8ZntWsi3aMIuCJdMUBJtEaOAVLPwzumONsK+ToTR4e3ighoDhjNdJ/akSqfwW4sHUvep7UiZEMITiRkQ2BvE1Phw6EQ4Ox30e16HHsN0p3vjKNkBeu/tlR+783qWco0u8xaX28vWSCwsOcPr+GJq4NYYj4TUbSZGtt7IzRceCYt1KLEDIy6GmWt3PszUe4qGzjsf1g8j7LCjwPLVULjzmrlLT5vX8bXJtM9uySppzgUy8DyMobRQTaLSQeTh2S2O8C4AX8DMwmK5rotg/1Tf2QfsssPDtID9f5vhOKhNYwGiToeypCn7D+L5fFGs/HddiyTZixhxDDY0CFnUNwS8PuPDAu2/CV6quNQMJzcoZvyJQgJ1CHmpHtgZGsj9bWmj60aBGMsMFyo+it+Wk8a/9evO/EcZFuF9SacxsZJzfR0dW1S1ZaFKORjoY/bLhU6A6C198aMB6/cMQujoxWwX3MGv+Rb+PSLZcG3+FcxCew7TUJsWVLNFQJjfqJVo22GUQtlH4JYCCe1xXjd816d/lL35EsZuT3YWK3OQXyZkNDFrFx7gZllqvDmbzlXsJDxChyniqhjbaf70yaikJp/q1RLdo84D1kPQEKbI8W84b8xNb3SOcm6+rRqD/blx77lDMLvUj45PWFYYoCaUWktFv+tkELemLggMkOOLbkCyztMNlC/H760hPeTOG5wv552CzAbo8vIjZpwYbmvZ0EbeAQA14wxrUFJyQa71IGoXwjHcb99wU2NQ9ZbwGtrEaRsM54MNI7RWzKl7uuOHhQxN429zlerscr46oZKbdWJzdclh7h/ZqEQvdjRmJwNU9QaB79WBfkgRoPyD+FtUsaoSHBAg8k6GiF2BYD9SSL3kqPr5FFD2GT3pjl8g6psshlcmeg11dvPeN3eWh2dfaecDRgEn1sc1qfsho0UrskP51MulUiEzfwv7y614MEFQbFbC+9Efupv1+cFW3bsD+491FTcMozvS8FS7nzMgKzPwLqNz9+S+3/xvNt0Gc86aympzGx4dDuOqYyuGKcStkR1+Nkw8zh7jACuJ4tsdU3RaK/ykBSotYjlKCJIT4b2Hl4LEwvmwiDq3QJJaDV9j43yBxe5RWcFXp0V98Ht58jWbsUsEgJapdjq7rJz4LOvud13T3cyG5fNqUt3pGtv1eJpTHcNkhSrTVb0ITq0pfhXcYSK1sTp3wmJvdn/T62vDbjCEQx3DWUm566V1D4p5zvPGYMWDgJ0fxS6ZbzX3ZSoGj/hCQPuuW9lCMi3saS5PdHw4tl3Ww1hsaHnEn3+Or/PrHHR9P05MEwfK5CcEHb768GG3d5yfuVmwAF6Jva3mbsTqDjakWnfp8nFVBdmesUnp+sTOpvqU26QjJmb45DibuGyCshhExmrWH52wjCRI8qBTZ9yUqdiXb/rNvbo1jZCtoDuj1rWVzJQ/0hH27swAwvb3E1BQTiU5zQFkhLLIfr8I7iBz9DJjajxkdDG5IPHuMOBEi/fsN9pzxObBJevNMvSQn9KhMduQf71NMCYoqWgWLJVoDmG4zCQdBWcgq6jJG+GCS+ReG7JGmi+nl5l3eTE4P2MJr2e7YZGDQC9bvt6JQV8m+0BnhDjHjOQnO6Xz7jcxdzCI86YVoQjB83KPnET56pMv9FovVWLxwDIPsr5paBeBwRIiGLSOvYbw/u1izSJ/oA4lrOoyc6VBHyhpqmmUskdFgLs+4cu1sM/IUm9zsVAodUAW04AUJQlT/y/G+q/QVzp2YHf+tW9s8LpcBvcNJ0+i9aqYDWbjchuBPEHHj523smU4n7/cBJ3wMNdl0EpE5cH7TxqBGrmHc3yhFCyHtUDAPD1izPugyiyHPc1OKjTcCHSQhvMLvAni1trNbE/IMtQM0XlKRK1L3Qn/8QYJwovvDrmE+TEp/5v2VobulPuymPfcPLLf8pZFzTNNOUiUq6j505Qd43G7TDluCtl05O/RSekKcanAXYj2pipewfxonQSfPCQnnCciatPfJwLUy76ICT/y1BJ5DByPsNxII6SvoH9WWckV7h/ARc1JqpgZCsQTWNfDfOR5kWvsQ/HcgWjJbndVaApZHYMjQWau8kJtgoLkwDJPD8OXQrQDLcfrer8IgzSmE9HnPcQOAxOrStpWwtYJ3xseQSyTts2VWOQ0O6YO4pdyzSNsNUrbrahNDLP1ivMYQ5J1664CEyeRs0Q1tyJPe+qqz4yUiAub4x/tXsI6g++sWNfbxnM3NIesjpeWeLbk/mT/2ivpp/Qpzrjy3ub9OvVo0cGm9DR5DL1SIbqv/sHhbVwLCtzVplbZ3IukIpVzx5aIVeqY1DrrHBIjGIsmuDBjUBsyVEM9/ZaMBsfPcnsagDEkua8K6hlzeMTFRPmL36d2D3+txMKMpHOrptQVZflbfPVPqlNApUVX1W0VpkskuCALWo/p7nWRpsl3s/jO9+StvGfO2ngsTiwkyovrV0rfF9R+xf8j62qCBoPluYH57AqRxCGMnb+8KFpv6+2aDFFq7s+9tKu8gDj2xdxpCGAUebuaBgBhsnkHvsdlAEtOFOhuwwIT+ANEo/olmbMhm6Z9Of9YsPaYd3w7P7yNs0tmQWJlvskkWRronpt7BmPLQ6EmvHbF8DUEWWzoTaCGkEHMyuHjWomtW92GFlO1jqf7l1AqCYLfYRNcU2/qvhzKJHh5U8pe8Lfoykq1fjlOajfnK8pM4xyvQ7JG8wdbi/T1WFh8okDdaaPuzOKudT3RAAAmhGPSlhtV6uKAqZ40w6NRS+0MY5oLsE1qEpt99A+QutsVIr5bv2kmIPuEyGkKm3irGG7QwPeQuHphls6XmPJQ7F8ka7jVDzFQ7EtUmGFLpL/cC/Ady98aA1ShJ8i1KwVJx33LetvgMUaypt7YLkHt25IfP8wOe/JkQn4pDOokxji1ISgR0pXrQJAVlQBBztAyBjlojLiC/3eAOKtQjUqp2hWgFIl7FL3GayxXUdxuQZ3VznveuAipULZUc3IRot0Gj1XBM9wePnTr2KF7GmhDDV80NC/vqaiRBDnTmDMWEw8MT5h+R3mnoAd+oerfI2wXZtnlrZ7gfBeWFqXptxPF47c2TSZxXm7gHnkoLO2ke/SMlGB8GIyjoFkycM7kTVqm9L8SoOhDLSP+C8C9s5nf+VkWLeIE+EYtHcug0I09luVO2KNhg2LPsIe36982Hej5gr8jtFj8cX8Y1si+Mn3lgsOfrRBlB9rqoJIJmEOSr7zOPVGnHobyMsJutezEchnNtgxcTL9/zcn+yF8cmeMqce0/dNd6aWU6h2kFyE72Nia7kjqkxy10WGRtasgaRc9ndS+l/lhDl0Jz5kJYkloNBDxZoMn26OS/h3DCSrsNOh+X0xoEDU4G1TpGV7XCiITuyP2tpy05QjLZYOgv8nqu6QTWAactoUWCc4oi5hkMFkoBeoeoFXnNge9VdnYAiJvpegWqPpF4eOVgjlDu3BmmMc9nNWKgm+g33i70NQY1ciZPQT/lsIGEYTOrqnIekm1NtmE+p3NgGVj2b1t49r4YhS7t9LrDDPcB0GcGOieDdvhHjKtx/Q5O8DD9VAXFdBW/WEjjBSWFBQRkPG0MLbtA98mFhFL++fkn4B5UkjVjHQNYldxxGyMU4RmXyg7xTz9CdhuxS6agRivcR47OpdodcKjiEcR/CF/iC03FjOHMNQhqbcsDCkiZXpCw5qXdaEJ6IJ1qZi9WAKsHaPCR6A6NKL6cnvuxScyyjkhnqQW91C3X/thM5s1xv3JzB9EobIyFSMhENLWauiYGOJ4ocBjfCK1RrYCh1ybEmxRaccGry06OqrpyUEh/QiHGZ2ereJXAe9uJpQtFTdM7Mo4Hh0LVJDpshIfZ296cERBbzuy5Tz5vKIW5nx8SQgIAz+1TE7iCD2I0xMkFFGkoB9aQ8csI0irBNALaZgElFwMVHmPFXAUwqNwEn1Semak7sCjaTFMXAD3tOLmbsrF3PTy8ymiWHjlW/8/FIhA7AAkrlp3mGwZQ4lLW2XufutrqTRz40sGesJuBJ+jecih/mAO/4YqZBTbZ5bRFZjKusxiHFc4aI2780FUUaWskQwQB/m0hSncYB4CqKGxkGgVflQIN6DhQnZ/k569OSPW4hq8+0PbQaLjIJln4JavdLs8VHjUy8F+Ejxso/qd7J5C2X2+sHTUajeaUyBiZriJmxmTmxv/j4/hSQjxfwuuuGosCohnJA69jfSTVJHmeCOQ8tb3+yeQ0Irx6vad0jb+yAVR6CD/rsb5zdrdvYxocjH3HP1yUm3q7pc/j5GAJJiKgy+laNMU1XMRMHoshcvw+TcBAV2CZ0lTWwaFPhFqQ7qsdahA47ypdBd4dtfVYnOn7lS9an9ZZE/1z5F36lWbobduOaDcQ70r9aZYDJ34OrlTK6q2wbMiXpgHZVfFj3IgLFOSSDBPftjE4lIbT6V5ebpdTueB3ANR2RajpUA4ZD6oCTpDcflexFh/c8VI5/UxyOibJjC6TxlxtS7KNImsTljiv0OoHMTpf3upvX4n/3cG0A7PJQZ8s6ZC0v3BGUo0yn1r2348sci03Hyvgi7lImf4/VT2IPo6nCDQXGg6lq2sU7Pk+VHfIj7ZaqIdtCWSomPh9IGw8MnAWAueDdTo6iQ89BEJpqlei252WARGYY1rfHyFVSHDb/sQXuRHgvYXLmiqOX/2PHA1HGLEBt6p5aUiNmilBGYCcUuvZn4TLXD6X0GNm7PYcmNfGZeCS0V8LpRQER8xbg8TysRPF5WMQESVmRh06CV4x5tPktkOMhcWqBJcIExd0IZtiE0XwC0Rt8FSDzS7Wnt/vUs6l1qE+WMsKaHCmFU0k1g5a3aTs7GIkJSDIpbUXQ/f9opO7Yka7A1ma+nscG+mSgOG/8hskMw/541NH74tqM8SVXEzfKbeA8lTtiFb1W7EI0yPKho/Fgl4Y37kBjI0mjziFzdVbcRqO5z2axSGmjFVt+WhjebSpebuTiNqrkfyhWrmnA70+WdibFHE7e7j6pZjICiNmoWt8PNpgYB272hOpJ23FNVp6XS9U2lsUgOZNmayB5mwetXBbo/kAXEQADnpO5aN77XwLkTuPZBjUd+RYlHb6XcdKf1MKxnKdO89ZE1Jmdj9mPbD2cqVKSAUXYl6bY6OpnNGdMH6J/0UZpqgt41qGAuUidw2c9J+GCxknGfWujpTCMk7JbSxkN2l30am+ljS0sAmvTqYCnGRfgVvzai0gMgTQ+Bt6z0AmaxOQLNo0Rqge+Tcd9IfDjhSqkidvvEpDvwDBVe50PJujVP3kfL8HjeIR8kmt0xbxy+ErYYCRGA7dUI8XrXOUBoyes2pi2w/K1Xy4ztciCcUkK0B8yhdxGGdu4O4EhIdeLdrmVP3Fem1qv2rYo3hueVkzCldMj2kbpEaCDUX0HC7w30capN2XgIoQygbc6QMwgoOr3qSFdK84wCwo7x2AS4AbK013lQXL0o5BmpZkTfAg4Me4hvUqKG++1b+rhiP5SaSIdAX3Pyj9O/SpZw19XO/5GwvXkpxUaghFIeKPzuxfUpgFD8ARLOUA9bWXrUFHfFPagZyPD6KW+UOHYKIFh+Lbt7CnYJEfq9iugWeB/Uu++Zz/FQHsZ/8K74PickstGBCMZNSsXWX7cAG6xstdTkI6Zyu3OjwcX8eidzYwHN5RkckgJdvAx8kKuymF7YOFao1xfWTJeLL/lZ7MByQdfLjyVenJCR90rC+XzKJVu+Lmu7kDa3/wLNSuYw06oN+Ls1GeviQWdujUNqaK9hGCo01jwADZnmsrYESwD5wBxrREXSQRN1QKdvQmRiOq2GnwNZ+NkHnHy4KA30WpPLnXnXr4Y2vagwKjdiBdCO60xl0hakCNOSlpbe4cKi0QeFaUbSUcvNOIKBypmvSdrb5mlKiMfBe/3MM1Obty8FOpE1uT2aDy5R92SOvDXqfxWQ6xgsNSnOzfp9T/x6Rn8WHFPaKFfhgcz3JjQ8y0jUFeab88r6rTWZuywTA1LhPIMA8qVi4KD+G8mq2mSy9gPi7AH2GyEW/fltjgOTyNgP4vfH46tMJouB+hB7/TtnVMM+3fVdqq4svxoW6vDB2yi7ovNIQkLdom/S1jxOglYQfhaE+/IRnfwIegnB5jSBVLgUeCwNwjYtdcdJlZlSLWBh+26JThBj7fjuhC4as2/G/OYcaROhvHG3up5G/Fwlzb62l/7hLBFtJMA0+jvcMd8SBmA3mArWBD+ntuh09QgRjql/3Xp+hWoi97FmwjnQVFIUpVD8EkFwXe91fXxV1+mPVUPkF89PjI5LO/Nb8GvbzoJsja3ljkSrtjz5gQkAZMmz7397/LTJZOoaM23RcvKhQ7YEzK6fuq63dvhlSM2cEy/JVYVu9P6+o8sS+eyCMHmQJFeE06aXDxDFwHZ2zcZWw6QMTfDUYYGQBUP2am04gzTmAlbzzc+yesEUedU6qcatV1Y2EzlSubU7XvicLMGzIV+5y3ebrrLY7k+m1h9KDRpwws7KXb/o8FbeyGkF8bgsfgNXacMUd6akdpL6n7wR8uc9mMiZPQTLb50rlpBveY9lcFXHLZPjppAJSKz0wHRqlbEcN8hL60UA10j8Uz59FD2Zp1xv5CBGTYADsPb2I7zFuODNs8ao+gVGvpWQBcjJXrgXiM9KfOYM4KucuTk2CWsK0TTaTWrXISC2vh2vfi0NyBBVDF/Tyt4fbIle6/O3+ofUG93mkApNInnAET9UdlQYaS8yrPXLLVFPI6GfYPqeiIrib5Rc7IlPW2ttg5azzim/fi2I8xq9DF1nZjpxMKUNuc+LvuE2ikZ6cN18fX5FPQbHi+2mqqqwPHppDINkKspO2Fxdctc5sOTWQ7y4dPgB5/ON2lsVyOsaWBwPMIrZp6HCkrdtV1CBoPUujB+tm3IYOUcjdpYphn3kuONntKfzvjsmn5Wy1TcByKJh0KW52kWG330rpxD7EGXEdXzAuV+evmWZj6bHQb5HZN08HLZspXn3nMbyOf+guUXYpHCvTWW154BFLSaFbQ78wCHc7JbOLBRpATtaCgDPr3ZvcXw3baYi/arNOG8VanoshliQ37Gu1zIDNKHR/hDLQ3g+BQa6k/GL2J/oHGL8O9u6yDqo9KOkqjSc0fAMpDAVVFCCAqO1/HD/yAQ00tg+IugZqQ60w99X8omsWHvi5EzSzpNlpqdFD1BGLxKn4Mcv65sOFffLF8v2iB0asQj2ilWrF9Z2G9noCzrlbjSxb/tkel1Rp0NO1+Gblk7PWFZXH3+YyBmf0ne8oWdRz50OXfgEQkBzWIClD5GGZhimB9KhM2HlCMyIxkRgS1bFNw83jDj7PTRl9GCsfKEWSvqN4qka0ELIG0ipao6TxV2T3EqSharK8WnSeiguycp/NrMVurNGA2dg8wVEOoeQjOGWqZxuOrtXQj0hQBTT+tggU90YWiuvZnU4uqpdXYuRgjXvOlBvHxAYcdFoe6HMd2lMbXS1tgqNalf7HUavYF7CCdGz5ono97BgbvIx4N1yHKafG96SdN+h+ncX26dgnKi41wIFftPlzKTIBM8lKI3bXd47Y4VPjX4aDUch41VwvVPQ6WeWoECOdRg8yjceQAtAM6DU5/WbDlsixlzXAq7RgA6AC82ml9AwGtl+gbE2YkaaFxYajXjBuEgEjdJ56D//0eSbppCLqqeog///PK/te6gKnSJAuXdGJUetIqksUOZVx4BKN4ZaZMifNTbZVVIH6Oxb7Dk6VJ95cX4FU7ZRIaMlcdT5KKw6Lws2TdzZH7sfViktRTrvRXrlCadsWoteeDyi3fvomB2eVkUyvxTnMYXKry8xoVK1CF5SdFiYMI1QZYF8GBeud2FNZeDK1A5ahhcvAGvbko1/vMfwsX0qcuclsowVYZUwhgKBOohTmif5MzxEvv1LrBa52qT8Jp2LIFU96g4S6HvgTgiVC0Nz69tCIXDQ9QXnlOi1pBi+O3pA/3Ecxqmk1mNoXi1YVFbBqR/5rxIjKW7S8yrGpjEKRFS4E0vRODJtkl+Zy0FqNkAJVHbL58NpmWFimXys8DevuLHEVdg4DiSI5dGqW2mD3jwnIiqxAhna1fQh7Srx7R5x1J+8qwgP+EyFqsnXYsSwCLxCfKiqMR3TJbmP8r0kp70GZdN0r3v7snOAAbMFXYyIgflzLx+NqiUM+7vA4/mEMvWG18QjCOnfo2i45jdjpT2B7umWH/90MUQU5+VMmKrD47fV2/QN26HD4tDmqHfvvKok0xiS0+UaiUSRiRIBcs/5Wn7K9Ajk7nMbYcbtYdZtfPeUF0gxncAx39RGwOfn/BGocE1riz7zuqHPoxle/CfocYKBP9WuUGX5esEjbfXCE+f1vzlaO+5EucJKVCsnWufBdmUq1noOc5926NXaodjutcPzDXXGuUwAKG3hUHu/zr6us635igdzjgBdOX3P9bZaFc/Avo/6d/xzk93DePfWAefXBVkYXN4Tj6E2JPgDo9oec6shR2nYZkLxm9lTOG30W64tYftW4O8iYnEOfwI+tw50nBHKkgQPssJrUdDj3fjJd/tYAwjc10zNCmC3R+0gbfYJ4N9LZq1cPmY3ShZ6gDWm7eXNGknVTpGwYpkZqKOPvwbg1pyYCcfJy3FbGBmfGfxS33D4ehJ0iYRclreMpmxM1/e/tE9SrMG+G08pk97Ls9MWXDpTAEjHYIqwv+tfvh806NyH9GkgNHHu8SEoYIitgfKFoHxM9XVwS4Zt8gf3esdJkcMrMXt4FNkdi7+SgcTwdPuAFPj1Gv0eQA77KKQpw3oagYwVW+Nk7BQLdr69hsqK33BCcym4ovLHKOFiLT0JbzoWxuuIxZ9UyzWX71Nsl+fANBlFHV9BxxzBDODz8VMk0pM0fzr7dlHP+hMwQBKx/r25QnFf7SWR8EKbOflLMg2QASf6h7K8iwUjcm6eF6lhc3LgwkWtI00KXTsvwVFJfMpRSG6wYqKP/H4wQKes9qcru7n1nWuDrseEF02U+W6QzJ90cxtEGwonC3OMl3IDmXRnCQ+KrwewrIxtgUJUDd5UIvgw6wsR1jEELJq264/vH8hf3Ty7szvZUg3ku3J/pT/CsskalMj1JDa5NsMP6gxXPHu3KCPzSKZJ8TBI4mc9eYL5gwkf2M32BbJm/ICkcpswNUrkmdw4MRGLlpoKSULcMNT0dtQTlBg+R7m/udnxvYbsZXlqHvTu4KS1ijIRUHRfuzLYQi68vmfA7n24E95EHfCK/OHpgusqmYI49DVxJfLNqvC1Fh/oot/237/wL0cbHnBawr2Qs6pvtoVHqRPEuyvDDMpzAaPb9cQYc5EgFWaV+s8JfDJk+Cy6Fr0iPLePQqkf2vw+8gbHziVhuKTFSLYxTXa3EzVMDYoaMRwXPhQi3z8CnLCZ7G/IwZ0ixST4AONi//c7puT9rYxPi91sOOMOih9Kvz7jg4ixxXdM5f17Rtpl8IfV1urmbDlfbJ6/S4uEq9Ll/Oo3VWO0D5Kl8039VFY7fpWJU7JNtN92XfCjBa8+bMoAs/vOhfWCQqdIbK5eckD7U1tG0TtTdGXRfr3JTt4edwCzYbkmK2YEVEmj8a0ghwjQPXnjAns8Z/U2gZXK08uXoMEpaJsS9gYNifU5l9enFyFBDv9YOqZq/1LNjIBQ/r7oHSVAUuL6O2wSm5hZHQeY8WYYXYXiZOCuoxmzEWLb/MBPr8qvbkgNxnlcd7ROjkMZPddImojrW+I03HTmHK+1q4wM90M3A7VIxW7SvqCUt6pJ8ANvgtCsBx1Z10oB8xuWwYeHtAy327e6krHmcA1OWiPT68yDHDibrDieUu7caazi9M29AyyuiRSM5wUrMqLVjHajD38mbHhtCPqn2/lXeQcUiRpJVGjUk1jkOcsJ5sspX80pFAod9sEQ/mvdUmIhYRyQTQgFnlFbZ/HfX75/U5Maq7w+ZdXcDynrOTX7HgmuxBsQTMQIWolFlGdG19kVoGwVOOJqSYQ43VFJHa0/AQ+9K4XN2zK3GXsxeyM06xWEZbOMo6GQ73Al/V6lESsKra7nw9rFAoJFH5THfpm/Wb4lWKVOYvX6uMg+mBxrLaAJgss7K5volMAwfrtLI1exXp8V7g+QUzkFd6jrnLAPqi+eEQMQUKwzpuyK9yPeyIGDfcgYF9OfL6mPkppepsSGLw4BZwiVXenflDdnGIacUAjK+8RpkQmZVUKLNAuTaNPv+Gt+aOgrgyEJ/hUFeqX/ekRifmxxq8h0WJK47D/dkfxDke6FyXRT+9B4b1yY21V9X/OznAADrfQ5ORus+NKsAz/6Nx+DLebCX7ZzsHs652hXt5m1TxLKd5ZKGuwlIie4FC+41hcAWsMqax9Gao8sB62SN+A9jcCSlOAMkotBPqUM0d6zt0XGQXibmEOr9wxNvBHfFGoiTjDANF+B2o8WEvEsRRwKy1wmI/l1lNvrvkrJiE3YJuc8rfk8p/jkctO+/VLazXUKKipF/YQdJl3xt2ci4WjEtuxsfgYIaJChu8NAJdh62XaHmq9i5aSjivQfa9EqOyTo1rncUTcZXWp9W0AJS7PFyd5DeYYyh7DLFyIwNcZMkv/R+z+LXy7qYpZ/NE/5zjFuJ0STNALZaUNiPMoToTSatwqRhjwtikjwtmNaMPiE+lpGQ/qvZUoxFluyLvrZgoS7gVPdUtWRabVfndn5KFLwRGMph+pDkAs6QKpMjxspZow1tdBZLoxyalbl3ijgRsoKKgZUgQfoNJvQY7vaXXqcQj2P7gN1D1VWvTKrS21oMz+2vCocaine2DAn19Y6d2q1CQ0Wt531TShi1GjpsV7AvY1LgfgwifmPdbSijJptHTI3BSBNoN/fFPK67z1ft9EX9sGBlOek6EekjTdEfZME+hJcAG5XpW/9qylSoUmd1OwHtQ9NKv/XkgDmzSWhSNiU1fH/RHFZpEK+3ZNmVrZLA/Ekj1xgkM3SpED0x2aBf35enUAfWFC0iaTJmB2NxIPccCvTpXJJSf0355yorFOZpupB4kY9adOMdnrdf2PK6wGK4wqAD2yULNRR+M4cwQYzpWIfn8dz/zeAnzpHzJlfdkvPpwhLIbrtK/RTOq3Z5EqRxnUtthOLHAMzJvD03zBqwBRWOF62Omqqek1wlhVg5XrhYayR4Wn4CNczv9Cqw831tet8LS0si+AXVBHyGCM6wGaLv60Lng7dpfFyi2r59XjG6o2++xChv+ZKqrHNnA5YVz1IL/tqhQClOIhWY8y4NOzjvlQ8q09oj2uJkrOnrbLbRIMGS+kvevdZuObw7l98BfBN1ma2M2P/CYNKWMfprEEtKzwaPhpHOlP79Ivh7qzJbjz6X0ROj4yhcHHTE5g/dmdjU9ly7dm4JxJoS81gwF/c6wEOOMxeimi/phcYlppx8d4yNfS/nYaiNh+M95yLrDyLCRRc4Suwn8Y/v2Ru0KqAD2AkUALz073t4nOskhKy0OvZMAZnefjFIS/OuJS971Sah41MZ7VeShNfRWAk4fUl+n6KGEbRxw5bJqRWrqgK2lVtjVt84McgdgjMZQ0iTyQRJmQaEDc+O5khgGAL88slSw+dpANHOEtqVu5pKkTPcrsqIjInt3I49xAuuTyBwaM6ukJtiQUzELOQOfeVWsHgq7140X6hs4PDjDvoV3SmI45mrgtiJ0zneiLUvVeCAOaBa1AZKD2ewyzJBLnGw/mozdJ672i0LdecW9Ta/7PfwgTIhamhTDYT4J5YUwH1QTFTw6KJPPfg4vYx5bUM4IAFD4x6nuiRzMRDF6TElrRgFkAD6OIAQu1OEbf4eBkGsFEJ/+QK2M/BwemeyYXgxxOi95AAuB67b3NjZci/YpjZtLNwqTfezLJf16yTEh13xt92SKGfqQXCB7vfx1bEuCA26h61zZzYJ+7p/vO+YStspfeEStl1fGOtJZSTmX1PzL7a4/T/ZhtChjO7odeGcOe70IC8A+eSFEUji9Nr7wYYJnh9nWpyOGMfGbe8YtRxGNliMeizTqF2TOjGT4oBGQka0hXhaDN4VTc4ymKUlt7Rz14tO1ZCcV97X+w9nounVaqxbVtXuVSP6dy/fG56wuW1jOCPnU2A8CAZUxfTgNmyI5p2DqkPW5yfRIGE5CAFczl7eFkDyyHH0NkGW7BNA2RVjBS8WdpGL4fJ20pHEByuWbTmP6l8bFyXkbgvqIfm4+PtbIEEqlHkKPAT0IfMJ5NNmwuHeSe4PJp0j2ErwXpidkbwvRUMI3+MB9eecsqwiPfgpqamKID/aPYMWUdlyRc9VR3Ejbo/DUb6z5Y58eWYtmxQWNSRHqxoVB1ZIc2nIMgY2e6eJV8Xd+Df3gDvPaxnDZYQh3RdhIgg93NhvuZnL37Uc+tt5C3nbnd1q0N7F4oxlHf1W5aKT+2ViBA1wC9/1foBnljxMUiWEA5/pHOfkNWye/AuoWXlQYMNn2Z1OM/sfEXd2TWTCIJyz+AJUFpatEk13oUgCZf2Qi8/jxT5eJEWOUdI7ibkOFKitshQcavkjJZDMcbS6aHT8e81uzjoCZRMAsSUVH0/EZwTtAjPu2PkJ142JC6Vy/QnhN/t96kewQPcZBVnIY1b9mJ9qsd+6BRvV9oRyjA9Ck5vCBGIzmdalqUHL+YQZ9PlEq32X2pivJnoSgDiMYwABOHgt3Mcs0dLZTWhYRAZFdxIdaA++AejgNG51RzTROVAHNWV1vOKYQ1EcY1FJI/FqX48DSjtsyo4mK02phZYxsub2HmIeCs9dkuFe6VDF4EKaLUZhw49F55qGpV69vw0v4ftSDO9Dvf1KeijVrTafhdO4bwJk54fxxW3EkP5nLLvcbo6euqJ7o/jsiEC6Ei2sEXAlEr8Oj6A9+7jej0OB0fo8qHLquo9oMUuPgU9KToD126fKKr1ruaNoar55bbG9TL+12k6v4ZpLj0A8HRnnmR2rNjHu5w8C/jZJTarDgYYtT7SwaYS/i9gsOI+n6jVovB+WK6TpxCDje98rLLNqRbpuoRKXmy+f46VkvxemOX76LjfAjuuGNZZoeVAh7yFNz5EjLVeOSOdgtynl9vKkXlkun0EgJCl3kwScG13TY52/Pr3A/TwS4DRLLgi/UWLvvJ0cLwt7czSwuMtKxsWXkaXhk4oNtvqUy4r9Qod3qmXZ5Naf51F0OH9CGyoBDwBKTgUxzgkDQAVezbZQVXXTETsGOBln6XZfIXE7RM6lybRP2Q4+ACCDnPOPkHBloaw/dvKJ14vm+1YDZF726W5xbH7BIBi+4bzAhDSRkA9XrWsen67CeLQQl0DO9nfrjDGiFvzQgLqtQIYUlBCCrVPhSRRSz54hin0Dprk1VdZgQdGXnfZjt4Ms6mG/IGPmRhQ2RUjXIvN1NAUd5pYe2LfJ3xbWCOMX8ctYnvipS9T5PS4j8VML/kDmA52hT8cp9d8HIT6S1Spup8TdYg9z3vKv8cMvslXkiLQFf/DB0IFlK+6OvXtq0xo0xZVG/6T6zemIESkW57I8wvO0IDAO2L6QX2/7hhBOvgkQjd/lfFf98Xsa1rnG0dzAisrRTHcVkTQMm6+lDU5r3/gPC5U+EE04mbzkC/2/4D/TBkPPBHdDzTRHpNzLlmWY01fSXTIWnVpPHu/d2Ivg2WJhqV+l1DrknMZze9F9Ysxn8H4LtdlJmkOiQvTBHBTVvfxVuXR4qg5prXjLPN36Ce4lRmF1AZGnJDkDnuxFlwvXfEtAQP/yMLuABzqris2uXBaRw8rEyeam3z9Yai5G2tEv6K9agiB1hTmTMlQ2Q76t+DCHCb8s+0U9iKtcq9ZzsRJQv0fmGGyDQy60Erqu+7LgcSslfsEg6kI3xFBu+hQGH6My/F3R9Qd8Bia2w+62r8yTerE3+q5caqyP4nXJ/Vl01aJHJJ7opjaTW5rLChhmhM+24MeeiWeADnj7ZFRkz1tHDkk0fC+yXY0cmimCVZLrdBVtpAfDvIw0IUXmh0YGyAO7xEW8habMU4U+D6sx/3PEtYgntW5wvHPEZt8VBJMDwNRSZZJSZzjIFt0b8zJ3C1lK96tBSeIOdNooXisfvktchV/bhv8dNO8ukZllccjVFNcqNzfka/WTahacqfvAOYdukqFrPG4VD/3pDgjA0HuFW7DZGLAyF+VN0Ai+mkBW9HnBAv5LV6pqv5G0c5XSvhtT87c9dYDQqiAAOdoGlcIG3tBk3BJ8oK1gJeNhRe4p57oqQKSFJwkY0FyKhKrBBg4Y5sF9Mw8VFWGyOPJAwo+aYNOsL9JxHCqMtoSxPivmXG4btu9s2yo0cFsJaULewHTVQ8/5IqJLmAyGYtgZpTz0WB/NeOYDUpwVgH7Ll2Zhk9woVTbRUFeme2DTInbyz0ttaE3eZruzri7Q2s0YS/apXu4gsnhlCTIt+AHtii7OBAjrBRhNvzKDGSkKOT0FxML4hmVM1aaVF6FKQb03gUHuciFNI9XWsfJiuciz2RPlT7TJ/OfB/xIX/PPIMu6XVKXkRreTTEsbygd2kKMnrRC/Mz/TQUKH7N92zEQqza69eEovit7WK96db1U6An6lBYgYOPoiAwB/9xNECESezrJxDWWnjmeNAcr4hQQMUYdMfUmXAIT4rKo5ieIFwI7KHtELEneCIjS/b1yhEY20lqYF377ggEWjwkrRj84gnmEXH1wJyNi2OAi/WxpuI5H7ma8W3FKCHh6FUEgOx1xMzYWfSvnf8AvqxvK1w8CDdpz4Wn+5/o+zShe5qSIbO7Lzoj53Biiv/JCNDLg3BNqVwtAayNBr4gOVO0jMmScMYd0HLYFQK6qQhbPkP2KcslJSobFRsRF3D2IswLLIVXo9nWQn5BA/N1mGpcjXy4gKZJjsJLK0VaQ/vPWH5AwLScdcf0tHZoOIXbMOzq/Cn97HjtYqPII5pfXbCD3HAo/9Abrh8T2dCNBpH1jdumpJCPFxoc5j8F0fZXGZ9E8Pc9UURpo9dAQRQ10FJHue13sBJuJG/k1rWuZ061PzIzPQN8GPX2LOpLrtXAajRIg/06lvob0VyD2hSJwMOP0xjz4q23QFUpBetcdd7qegJsaflLzB8PVAvsIY0kTPbIsHkW1OQeiHpS8Nxvpm6265Ic67+nHLz/p9+e5/1+vW5OOX/ZDZ82rLutXCm3UfTEZQVZg69DlfBrmwMb2vBZesZ6GtbZCeim5Mjdd1Ujvm0r8nR2c3S78PQH+0Q1JsFSyOzmMn1HAs9ks+UTbBiiWWnVYGCk5YpeT2rhGfG32os3kOEnBGbx4fkPHK7SoPJu5j6/xVlkqdhF4cs05aOZyi0gRrvNjt16H840UTv2q3jUZwulz/sZ5eM9aAr0kCucXLegBMzyD7ZBY038uTp2aZ+XpwPrfTSFyDYs7+sIj4kptYa4brxw4wAvJYhfKw/r0uWxmQRp6M6idu7gwkr1PS9w65nTaCEaJV0WM+S1u67BLgCkXaUBXGUQgSOOMdP/PFQKd89tpzvSYnDLCUZD+H7l9phjzVjdxTvEeCetMLDCNNbQ5pyG7Do3ADLCz5gRqxaxYAyPDbaA+mONKcCAe+BSoIsgIhqFBg4Dsq2SFI7hYVRtT5rWrN31QXNv5Huup0oggYhxbh4bneyBfZTWlkCYXjl7boWEaNkbIonBDl1ReTPqCAhnld5Saqw+N5TLigYIaHM+AM/DhwyBkoO+Y4rnb81Zjmcg5PBgA/QDGc66Clbeia3B2ZLqfL+Ddm3vMJwDmCrO9gBQ9/c6ADgfk8wrl2NoHH7bjw3w17LS1k6KNZK0PL84v6gR7wPRqmvZ4uhrV1ql7Pkt7gmoAV/rJy+hwtKIqBqPkEncFVf6RosKa/imskTtULAM+0m9pDFAf3Vzg7rZa59wPJLdixO6wnQMe2QYUYV2KjPPEzLhO0o3r4k+XoRlGk1Dc5jdBPGZ+OLpDjoWxnaFY2UW14QXS6kP+llN8AkwR80s3rh3VIScxniMGxs2AtxAlth2WRmZt59jL1Pdim5P5yItqbPEgsFxDSsK4BBBhkcPR0eqgJ8OhaqyzzHg2rHgl/vHRdyzj1l5EU5vGxjrvgOa4j2+BM4lz4x1Y4dPNscRw3h6qxkJlJ28RonYMD+cqJhBM8euIGSvCrRm42OXBkjkBQARo6crLwjMzFWZj0pnY/+8yuHzcASJGTh6sjk4wmTRKQx7gZ4q/Ykf6xbiHCAJSGzYdj1QUMbOKH5UeaGwoihC5AuUs4UKrswz+hnNIUQj7FbIdYWQzmJPBprdRHx84pl5AQQZN0jkOo8qAkMdGaceofEsoV2WMBQrgFIEdXKbb02YdHvCl5Aonc2oad6vZM1zkHrehIRxt9b5jPCYlA708juAPCPrQYUPlT6vAc0ONoEvovzrsSv27kEbLwsHjNBWoNWYmXv83ESGq8Yh/SKlSGor79S3PIGdSMOwoLnOchV3wYadN9sSKBVlRdUJxPG9wlyXTfs4kpwBeDW9djFGv/MxPM1krgigVv3kYyHYFmlN2DC39dbI2vC1xd7rhh0lKOmxSl28VDTg6eqlG6SA5LQ8OxVO5uqx77C66obqL4mofjcBQin9Sq99NvvnhnIYjSjDMWli6o4zVRSPqcSW4PH23nsk/qMbIwb467NEy3sux418/JCUUwqwJr/NZtuDXkUtl1FthVXI/I/XI+NuFQkPq/Xr1S4LxBiVEyJgbnhAbzDj1por4CPkrYObwMoC6tNP3cb+T70G6jQ8rln1p82eO3fTF9cwo44T9v2u07u2hhiui1i6HNhTNZmX1IINDz2VTStuGdUxqdfimbCaoksXsEtyfQb5w/2rF3wwYI/avVZCpAX5GCTUMH5Z66SitJL7vWeRp4gUs7z36Ly+f5Ywa2xqoDOgChU0u1Qj0zE2sHLodlT1BisvGb1CWdwgdwM2iWR4yFMUIUc5do0ei73uzm/NYpbqitCVIKFUizIzB4jW4ZIP2jdk29xyq7eWFIVwcKNav9UQUOnQfsk3a2Fo1+Yxmo1C+K5h4OluLrVQ2D/GFVhkW70SNVG2y2YIdRWkL5tvzOXBCGp+f1BN8VdUHJgzJD7gqLrMD6pMSwVq8+IgEGeApYJL9BEbpnxWxFuyBB0XpghujgsVMwvoguwlrWazD//gRs8nHnIzSGGfugcmdU9AWC23YNTM0AFV3fYKmyql1AGkUE8J0/r9Ga0votjlBNZBzLJp3p7GFUBuxWb27Urix/nDGY0Xoje457hj3r270o5KokBLcScJUtYpCQ99u53Ym6hlSfgEFTPAgdZV34U4yLVWhwfbz9B0oL7UbdImS5oQJZ9wVraKoYje7uWYmMB2FLj3YMEtEbvrPR0dPFE9Nx1A167IMMLrRciSOM7b8rraF3XnSNrs+oO7BJ3TdIdn+FQI2DaNoDcxfZ65XCkp1PLSyY/hwPiBS47FuWI1G7zc8bf6rsleudZCDRiKrvxrmTZHZIDQEZlu9HpNtzT2KBiH10hPi4qiD7mNXs9BoHNoStwclT3XxPo4U6SQo00WwKNEhOdvNzCtUNkXmz9Mk7fwWaldH/wMtTwbWzTeduUou6knTwPENDnXjl8LOofsYgQ1ey/vc4ABSPtI5mz2mXBimb1MfuvI8eBVoio8NeozdpLeD9dBjTz8+UYjZg4yLqaomVMk/PYAdak2b5muvfiOdlZk7hHHBd+k2t0lx0TIvz+eNrMvSC48nFhg7PAhNW9e6jORpJHH/xSlIIELkjp6IfmHnWv41+UzSh7PJasWjeYuczYYnGvx9LD5/K2Uk/xlfaW3xD5wzJ+x6pX+AX7pShTjnzF1f+2y3AlFW/oNJQ7o5GPJ9/zouoisjs7WN3ahGEg0ZcecF/Mr8HIcgMxfwd4dWWuMQohhvYeuf33T3YhSlYyz3JCuuv7RF8/50lapkI1Nxq6eyCUAeaU0fA83fPxRds7a7uXXS0nnDKx2ULX8GW357Rn4WOaVLzNdeb/J/sT7m04j6KSEZ2SO0wGzOSwcEEbBsbovBvaq84KaPSPSD8JTwAaLyIdagm9285/WJHmYTd5BQomRdwUlWhcj/czWJoATSFiNUFr4zXpsIDNu77RHJvatYUJHz/ryH8KwfTqIcvblLDrwr5+Ehw++Hsh90gpFcVgUFCwr7FwYYhUlyD+JbOGk476NJ6UAmfguQcRBPnHt8LSEysVGxEcWjyL78X/K2fHV2RN5MxJnE5o74Tla3EyOCoo0ib0syHiLpsZZZKkHbP7RahaACWhTp1158OXRAKSmdGKczP+IOGBqUFbK3QFTBpJlajgzwv1JttNZHnr+qM40mvNU3UQJLQ679bV7O+0jmfCxu2FoF+os6cFCS56/mx46X+mtKxLB1Y5MAAKfJZJnqh1XxXVn+aIPuxQ0pWkU252nc6aPVg4orc8WUgwJ+s3BBdYp9eXUu850VVcH2Bg2/sZTnkO8GYr4Y3LWu7ITSNHLFEWv4autNum1Euhbxhcc5wspb3q+bOugjyMJ097LmeFmfx1r5dzf+Y1SybL5yxiu3TY6IMa2hbDSSvI8RODjD7LR8HdvkrB8Wj1zfMnmA9PwCNkvslydtO9x8ESkVU+iHrijt2alKrldOKI9cTzldq0OrQqzbPi7kY5HCb5bKbpw9a1xAZmqNmq9j1m0cUc1d5s66tRvN5srbtbn5/P1++ZR9QgaBSQ/ciulSKnrwKlLB0QNkgB8LbySX9v6HnbUbZFolrhakLHpUS0hZ+jLNK1CrOT3GwCXWpwtbEWiTRL7YciZCBMi/HlqKVgqUIlqtW03vTVoIOl3voeRJefjQjyCPtDN79Tn3ys00SRrjaBALo2YTm3R1GOkrJk0EnrIt3PaqQzdg0uq9luDbqT5SGnFNBdaNVBwipGWypnkOiPGkGIDcl6wyneODPMwV3e8sqz/nxJKJM7d7/TIxyQpgq/DN106a4tOLJfcfWktMhPQgB2r4nf90J7w6Q2h7VIL2e8qyp7aso5/bxbuq/5EFtkuUBddjq85SKGT5fuWzMiPkW0hoWRrMGl7iFIWBnoKadbjZct5WsDNh/PyD0LUOfif5KnPLEZ4kv8812f37TG/iJMLd5145AkW3Hz/fT/90MKM8y2tTUDZJx3JCFNdECTFswhpcl/z5+eUYrEH+P60Xwz3Co4MeS51hvXA4bSSM3JIzVhDyxvoQT67mK3RmFOo0WH2Uefru1G7Ud9HQ6P20AcQW4h1Jc+GQLrZ1iOtvkXEvyZBOtk4d9oqaVNp32/KWIib8CGKZ+lkHGb5KOzKvsdcJxk2cpWIRVaErGSN1DpOZtUGZ1Z1lctfIYypKKAV4cD22sjOa95WyCNTVes3CqfJreDf+sFzMtzTnnWCLKG8T3ou8aV84xrVkAlJ1JfqX9kp4mDpBxvnSAWS2V1KUaVoTY7tPdPzwcX9tb85+fMPmfEEWq8SyYwbl7jszGZ0gyLetQXpCcVD8UemUD+ggC+kc+4YAXh9A+kVKjGfwCjP0sYpXC36+1jkPGKMPbcgQD0M2N3I6o/FQBAZ6QTnkpkbfj1/WfjkAymdoxN6hYq3ItIGLNqMfvrlsjYJK1NNklrPqY1/qEgJUcFmzhp4odxdfCj8QkJLTAZm4VPrrHJ6G94Sp0nAZbBBbmPqfd4S13UTdsBxEGSiOJFz6wowt2CqVuR/9D3ri+h8YPb8oih4Lu7YxHW6wSyjuZ14a+QY0eh6Viu3FwbSVJF8BUi7vvHQnqpaBTjHHWkaqXmp4U7rt4w7caywWQJx+osZ/HpisJfwqjgaBUaPp8U58I516zsj9OwY0gMxFxkorA1fP/HY1Hi9QTphiSuSyF5/TTszWnXLAWHawE0rnAK7ysKY1vftoBodyoPtehUG4dhyAww9eC15CTD/5CpCI4zkdXC473gxXa8LKkX9vte+LI5h1ltNVPZSNxnaNfstvUGe8Z/Ra/eWxB+xFPM6e3Qfw63AmHJlGQljhSlkPwZLNTpUHX+9MKN0g3UY8FiiZSK2LW6F/C+62cU3BW8kdJ0t72t+wwLa9m1Ykz3Ls9814dpelcl8femVItjnX5cm1rSmI+ciTwo2Ow4remwYbHqRJliJ2bx1HYckOS3fTrBs6UD7E1GxRCB0odIFLETtGc3a8FP+bN5myeDg9sgrg18Q0ceJBsYlbQB+5owbhbrC1ozWIcuVDr8XxiX5zYDj9+kdOsBQ402A7QzR0ruAUrABrbEPRWS1giWT1sbZLBF9xnnQpDZaxYmsVQxJQckFEU4+2m4Vi7RPuXbhn3d9CG2dJp2pJDUVoOdNenKbulGBdCOTEvqWV7DLglmfe/l9DktWwyF1evzYPszXuFvi1zmHrq+kx6EU/e7WJKMgadQFXijVeN/IKWoOq0YBgeYvuU7LniALv/ewE/dD9/vCRsgjIzc4oQKoB7ZZ04GEoFL7u3gQRNDLZ9ZcH1WiwOdJqB1QWm5wynHpZu24L57jDFtnNtZ2iqetaQH1nGWufxU7ePxOdRrPd84pb57RZJ3phG3HvVAs13MN21AOF+ILot1Gob4zHFTVUZOR4FJN0y+Vl8bTGQUsyN/mi5AKPKmSP78h/eqCDmKyGS+YL1M3IPoV/1HrQvtoEboDX6d2ky2DXrroUfylRLnQnu9shEl1CNLFP/PCcgGBLHqj7rOpTHGz6/fFo3DlPuiPvfvGFrisMRqKHVGEoyj+s7jrDJI+uemkIyNEN449KyMc7HDmw0n2KXoBXpcoS93rNZXBS4h2cwXqrNmxZRskqxRb0YTNUG0Dbn0AUEXLZ56iGKTh3YdHtJOMwYkA34i6D9QkPbI="/>
  <p:tag name="MEKKOXMLTAGS" val="1"/>
  <p:tag name="ALREADY-CHECKED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prsQcMwHG1A0zlmK2EkOrSEhwH5ixGcY9gLvAqxz5oFpjeQeSQKhU1BqeoR5Smxcc0sC25F6N+2MfiugdZUv+ZEvW/2BfV5u+tR+jmvc+1T6Tuu5bcp0D2Nq6x3jyEWf2g8NKY8qRiOKxR/HOHoee1favrctpYRUDFpTGR7BlVon1eBJSGpDi+Furh4gQ18bLzurOfFLPIiOepPIPm+mUj8/dbnYiRi3JOFCBDRPtVHwm/Vwz7y6OMRPo1DhoAXkrB50g/Z6GBVVflqoNyJjy5XT/N4obzW3qf7VjKkkDXX6vnNuY4I6mSKZW6GOIl9ElKES/DTlrgR2vt7GtOjEJgFJSeE8wi3NQCwrgOQGL1jwW+wk0Z6hZDgkSixR/sWEwbZexboLvstoD61OcHAOwVKvqmQxtlBgv4J35sjBq0Dv8aMV+Fyr84n3NTT/67ZNFxAUqtE0FhUkBVjZvJFCbaEIEWw/KPORq1m+1aIimlmAN/MnyGRSLl89Coid5wN9HrPtQ5gDJAPTd30PyEHAkSoXxZLLHbMqLsi9VglWo7FV91nS6FQ50Wv9aTGlpl04HrelBAN06VgHJ6tD/6TgPvcyCzi7gzIoG8v+CuQCZzr2uHUBbVdpBRITUkGSrkvBJyHBOAiW+4NoA/ppjqG+xvoc8WVzPY2qFgT8qokHRRW2opCoawJ+NCoHcKK7xpw49CnDikZMFO8QkDLrvVtfWgiv4GVezxyAPG5Jaa8y23BwYOM6dXM5I3N1Je/Ip48BCoxx1tk6glXjDlZg128ISpMIjZElXZmZg3/EjS3SN9SRe5gCATK2VmX0fYjIxh4oXst2ZV4XjIUL5nDJwfUuFluhVxU36SdtgbrQBT/rkbTll9hNdCqxgnAPKE/UjtHT3IU/zp9p9xfBpOgj3b/M0FovkREoxhWu7is9+RBT6IvuYwpJr59msf9Vs9R9J+QuErpW/kMr04EGS+FrSqM41gC2l+cjUuEMX5Xiray5JVGRAp1F/6JJMqv+6kWIbaU2cyjneODwJ60DUWht1SnXX2g0nfA4kSgdCJhCc4uJeaU0WWDK69qaeTPG0YlLFmzPm9ur+x0aJBDjkZnsvaoE1D5rIEMh+K/7Sv7NIPmNU4ROY7gmr3mbYvEM3jyOa7G7wE6NyjrL6CxEu3O8h2+HOttHUSKljR7VKmNamrNWNsBV8eR9fzntGfE+/POplOrGbMXBIIqmTJ1nHDAZZHVA1RMiJBUYBl4rPU9fT9hgc2EuNeDdWn9KDEeOpNMauFUCeIj8H3PJhkuhJq/M2i0K1ymmM83FjX0mdHzwp3tF7Q/k1rv4gizsjMRF41AU/RcWHf4ONlAXGvP+5ssy2vo5Bx5UMWrYUCWaAbp30XDRRmnUh/9SqqftSNr7uddzb2DjRpmK/lfuC4roRgKI6YM5wkSORhWl6BKG8Pb6aovYeSxC/vNqXyvfJwLcUrJwWCQkBoVzJxwPdLu0JPoyVLr1LhtYLEubiJuFMx1ntnTjuboaNBxabwZP6yPjVlFeu4kSXXjUGEar+VJ+Zo33EGTTETEwx7ATo9bqXrA6FKWLrAevEo8UrTm5E4SRj0Hs/oMoVw5lQ5NV9Q8mu9AAS8XRmXcSBrMeooP4CNo9dnbS6kshvpNP/MaG5xiN1LSlwoNOdmx/nyHCosy5wir9bSnJ3p2vdY0+YRJ3KvYvXqQhuo2wsgjXhbFBJr2uQYO6SfWBYKVk1PRcAuMnqtN8VpEkFbLrinckIrFsuUay/6REwRyrb0IIgOwXMZamEVc2omRpPC/bHn9dHHO/RLy68EU6GC2QBgAF4HJhvBotEBC+l/OD9YDY+4B7LNnsUz1igo8z/s60DEU0zALYo+5ChX7+HvjiMyzZ1MTLQ22kglWKIGshVeZVxCa4Ap8NOolHjWH8dg/XN2kd31Y8RR+LUEjFYXSYFGrngAiLEtawXq4qgiE6DJLfe/MKBTmgelnDhoQ45PV8B6OLHcsvDk/GMufBxLnWzyfUHC9Z09er2WjWCeJlYUrEKXsp9apRq72dTX8dg4Yx99axSHbGyENvoLHznGReviWFN/uxAPPccVRtUBr+Dp4gkVmtSNOLz9oftLY5vM3wwiJObAY6DNaE46mS2v66iYmaX9MWBV2ydsDaWkCnLMJ7L9pgxXcKDH1xJDw2EjaJmR8vfN4B7oIQWvkic40IZmlF3VO0U6T892gvL8C8ldTY2mZ45JF6dU50/PWFCO7Ici9ag4GVwLdEf5YqvnxAiy4/6uhHsSPLLe6ES98lgB1fAnkYTMDNZJjNwiGV+JmnxDrYEnVwNqjmYrjANp+LKQ/R7aW02scIJTYGRFzlO2bIiRGHHhTH08k96Ie+U3L0tPbXgDK92PBbCOuXU3htbpCD6HsR3fpNe75sm0h3IlsX9O+43VEQ9WC5XpwTkt64GP2TqxP8dw5sZVt2VAt1XAJqQvmgxZP8U6Uix0ZgeaLf7JFHUeY+T74uQeQSYpaXb8ao4lnf0ick42yllA2JQ00d7TCrq7MO7umGsh+DhTrnAg5njKFO9wwI7dFeAzLpEg6tu2ay+b1p4ufWVgnry2mB9ThSp7SVJtHSrsmHuZ5t9K9xMGCaMSGPvMmKi3LIvQhDOIBERPe49jPzBqMr8YTZ84rP/qk158BZDHLOo1j8ohDNv7rxumYkBF1x2cBBTEg+ZuF72az8j12qLp3SziVtV6br2XAtXFHFiy0DEgYHaBcfWMLfbPchJzZG0e3C2bbxWg9IGzjrP957PJ/sFGbNRR0M8IpNzfVGdzDdOK0C9RL2VquiWSI/OyFzCLODGkR/7g5AAXvttCfWACzjPFtbYhy3sTMfnxX7eICCejzqD8pPMx+CaKl9UvP8Ino4mb2GNUvQM4nC/EKUzoAyzXb4HCsK4RzMwtxj4at5J6Jj1Noae0V4kBKKesyRgvRJWLZFCLcp/gXnR274Qgi6d5IfwZFkRH285Ipi2tZ30bHcsQgkaSUT2vaeYAD+XkiQ/6Bde+5zSSKrgss8d3ptjNE8fr60oCTTW91KnPFiDLm8V77l7PPrcy+p4G+LzCG/zq5tlUXtwPHjiAMr6pRIQsEMNFb/TnjoWIXSHbKDiHJ/6XNKjKqdQHz02/SpVr+42GKKp881St1wapJq8/furZg/Vtr7O2uM9gFMnJ9iaYRvA7Co2eWEcJHPxTsMG8J4jdAtkOpUNLYFfHWD9pklWZ9aUBuWy6AD2EDPQSNJi52YqhjZqkZZ8UuxAMqJvF/e9Q49OfZBLb5fqJLDtWOuccklO4KCsT+Xjx5+Savoum8bqJNSoh07T30bAK7VWMOZue9bM5NKXffPRmeA2KSKgL1BHB7bDOyMyrq7B7VZNSzZAgPIUxdolu3vMOnJy9hL7j4PAxlKConl6SoZtNQkfRYpF2Cfw+ODu8agvTQBNxBdzDAW/Mv7xanGchD80h6KRCogzw4K/EOzABZh49BgSueexMHPgVV7pk89L8rmw/5Fxjqy6yFk9ay/RaBJpsmAWM5+URHKGvEVvWHJufcc1QEP58d3wpzF6a1iAvWxwqj1r5qNxTszvDxWRrvnwDOBrFjjorL2593JaJ7W7VIzNnCjETtEKLC/dpruKamapYjhxXrYZP9z2kDbCYJslVLm7NTYcj37BA5Inof9VJqqzEaBLeufdimbtQENdJdOIwC9TgqWuVhods2UWB7E3+COrqBM4oEl7gBFtfeqMuYNAyihdvZjhILzclwHYjR1mvjjR5+d5t8h+8ur3HllWaiZcZHMo2VfeFJZ2fICGRMHSTlKZzD8zT7lS6AhgAL9lmIIpOWgdrKwtXQPNbnAWXdy/prz9g1tIuQSHdetaiSKM9rXG652fQ8B6g1XiBdorNoWDJQB6+/vUTcZtKbYc5p0iOQ2bHS1n1H5SRO5a+fb7yav9igCOrt1MvDPJGhgTDVmYtXIsptCRauDWeg28fRGMKublwqvZbEvpWUWp9T5QqOjlSxCG+EgXPQIOtfdNScStbvgRGkzqVB4300wUmYm+Sstv5VPv3znIRmmm/E+n60rRlFaMHPTAKT0lWdHD0ukcamWqqoYKvzVo4aTTtxf/dBn3XSvHX0B4xZgbZ2m57qFkujMaY9eNdvo3w63ZcQ+miYi8zHDGPTNB5/dKxRpkEk3ycjy/JWtIA99mnkcqdndfJX6oEk+CwZFQ7pdGPf3wqDpn84IiWtqXqoQ2GJ0ZOuBt2gPm3UnUQ5jOIMWx0rZkMUFnH84IoXV8iqMCO4pum8BTyAXXKslx+o430q4TDSDv7Jm/JD4X7Yh61frvi1y3fUwJ9fjcOM4qGvY77d8q3IieZbs+wvFU/hcGFeS3GkKNPYOTKvSR33x0x/8uEPFLtK+57nKxXU2XsOaNQ5wtIowa9gidtwr5YXQ2yjBqFG8AzVnM1Ljzsw+5lQ9/6EXkm/gcPBntlb0ndQ99piorPsVm0y99vsSJMQVskbDGQePQ0q0paNqM1Sb4E0cCW8QpX/YTuqyYizabjGkaa2KLlkzNxjPaYUMbm6pnl9sskKqsv2ZxoQS7hPsQGkOx76nvu7xgEQ1YYPAE95GCothJWap1ZkfZEZCpQQkeRj57p7NyGe1jKBvUygFY6x+S2/WmOfhwokKx31+azNlFQhBgBGiX4qVd7KPq6DpVCPEwPiV6IQzzF+RpptSCPdtcHAsCOGhayY3ZpTuZu4lNzhYDzhJYxYl5kT0tNDwdxI1o2ArE75s/INNa1gGagvAQ2Kv7x73/o7buXM3b+eKtsiC7Y/4uNQcpU/6mIBTK1OFvGmZLlPLLmjJtrpQ5LHCi/mGCEj1R7WJwgjFT1hevm6SviFyeVtLiT19M60wp0IhFPaxkxIZ7g7Hq7aJRwiL/T4sfk86D3ky6MdF73FccGX9b7BUg6nyEuXZPgQYPXnScc+Yy9LUW4Bu6gq/0BU3rRJMdEdQYV7HnHLgmlYIrn+9ZEwXEqLjNeGS/TFFMfu5/CeHyEnF6GTiUmFfDf3Kp50DKUQg84npOTT/PkTjjkkzWuJ2NlSdKOq3fwIxItsYP5SZ/7rBxDGiISpiaI6a6jULXZXdWHyxeh3+LecWgE9Vzs5pxYXVIf0A6gc9ooanhF679jXsjAa7Tb3TLwt17JLo1keqNwqOVG+UoF0Om8eCNa5ozLe+PSfq/N8soyE6UaaFmMuwEvYCkVTJRtUvzKqC4leay4fZm0Ha0W7KftTteVe6yfMwg1sXnrmGqJ4a20Tfx1vm2LciIqBxnQW/lLwwxyM6cA0/FIC2Xs3ajCzcgEZvF4Zns4X+U08j3E30BKCj86IhbqnQ5ZuShn2XW2tLJijjYjiADysxXmi2lce5TxXVkOM3TOmyqA3XOmZjhOgkk5em/TEI2NnFVUZItOrgcCR66q1PRKetg+WRBeW7Dd1tFZGBxE/fUaT2aARyqPwKPT6Tm0PhuQ/BaQedFu2LEHrMUhGfhkz9wrtUul3aVPRS99Ccwc/SCxWiZrfV1/ubySxXHoxkYxrZBH3Vnv/bqIy7Okr6SsyV5rK+liDF2czc2EvdlNuiApgAOTQNZl8cZ5pGUNJmiW9VjDfh+3q14k8moRAnBQKGp9/HV4k22cy06SQbyQvG9xa+SDTIBQs4/AzYUosE95eBus8r/2I0HvUkqEqSCgYNL1Jg74Z5lVjDbINrZ+QAbsGwZMwpjI+JH/wCmV86YOMYgngXvir2tg2rlg613iWPzJ1Ret+zXkD24c2ozW8npz5O5i+dLJIU6CRiYwt/G6TZQj3IScFguCOJLgbNdMtwpuqLlX+wiS+bX+5xiNop2/XYPBB33CCJferDwLx1B5noIcNE2G0CS4t+9kTdjZE7gWCodt4Yi+7HQhGLCeWiMc+DofT6+ExFW0Ty1oIx+kkGuBkjo1PIbNMO1jbzf8bWposMelmtqQkNnOKC6cW+7cKXSDVAk65sCVCgOB12FDbXYorCHRUUk+8KOCL/qRolXRElskQqfeM5Dhmd7AQVTMbkoXLU8+q4Jvgtc991YcSJ85WuxxJV1R/P7r3bU8ClZrr9Uybp1y1ij+0L1TvyiOLHF/H0M2XOsvpolkJNvP2XRJch2BmtgY5CGqNEZRpzf/soNzcgNUWhKjJZNAhSR042r9ZkCyUeqKrVdC2S2IqHxq0OFBmisjTwBc1GGjhnuWxmjek3Lxh5xdg+b+4XI56B6LSS++NYlNM1Zs4YUa6wlQQod5ceJv3nUBHdFe9E0YnkiPRinH7ZsPoyzAW47gY+DZ2PPslzD4vdA/VVrJIvfqzsrHe8NLuo6D1FEN0TUDV6rczGMtIP3LPZcHhDdOVZbo0G6q5QHfaqDOOmMvm/dkQnsQU1tv/6RfBbPYNJoUlQ28eUxShIiNBVb0RchxG1TTvp6bj5F3XRScFY5N82fK5HK+VxxzWrbeXq6JvGBCUlbRMolorC54oBClHyPtxAV83r3JEP8DbvQTe8tEOt7pb/PTtzMEAxF9ZjZuXt1byoHDAOLx/yZA2GmRQe8175Xah9Oqvc+MKCr20sa6CUxjZfokyQC1yQRyUNyiB58bLDEq+wye4soTBfgtxTUybtkF5esmSDyFGycRN2Osh8lIJg/kyreFJaM/RT0+0sm6s5zpHYRt8JEd7r3Po2usG6og2l1RJ+aIsBz/A3kL+d+3d/EDXkfVn+z3ux+EXfc2geN1zCs2RkK6VHzm/uuGB23nZOb/r7hPrTRObjSiz8HegvgsipIMAg8nXgU776GVGe9KpDvJdPCUNA5hRPS64JfJ1e4yxGH1bJYPB4/udpcryOokWHVp2acdAaydsiVwjuZzwIJ/vJX6RUgY/Iwri5mYw1hhcOFSnSIva8ebCpxktfo3H0GVwxTxcLBeFaktdYrZy9Rtg8Mr50Fp+zy8Ij0r63mvKafXiIYftFInDoonKgF9q3EgDvSvvfXdq0gpCzBOU1FJzgtpedf6mgkukAEmNePBY1G3mchhXTO0anyeOxazcXOMKroGjz8zm540P0szLe3tkdWAQyOey2YYZJFxfdMjseCuLzc5OQy635S7c0QtYY5gg8ki+1Y8x9b72jHlaBXowI4O8gjNjJuh494R+bPFCfpVJtKZj903bRRM2JVup9kGieiJ7d67EHIioo6XX77lFNcOPTXTz17j1bai/96w2G/Pz/B7zU3ZAUkIn+3gfRyKlR+ZGjnqiXSVeQbQ3UxdokSIUd75C8Il+xLFifb+2cLSni97BXu9PzhVU5/7uoIEPINFgX7Tq4M2+teiXeXc0TRhhBqqGieM8k3OFLlCjL36NShLqCQ2HJe139vFzJQvyw3zDLBW4UXBK4CwZ4Fuc0c/tNsJSV1jThb/hS7td3hIFZECWQ6bwitO+dEVmbZXT/DZacTTWsWsV9NAnSvyDybggqSTZeV3vHXUu4AP2e0VbD5Eryg2IiBBmDIP5zul+nxDbbYzntQaFzxLD+qOo7+PnSkKElCh+YDJXmFuGiFrQOvlFzbAIIS8/l5xQXBGxIfA13vfbzWXYrZ/h7o0/gu7yjSWJuLqiRo3zuwGH/wAXns6CUEpA+mDDz5gX+4GPWkGAi9PKSu4gNqjSbOaG8traCPbmFPQ/Owi2SHcokuF+4tpV88O2lsNdaINq9REQ+TCjfexlEZC0sS4NUVDevPYaV/+6Ke14RVWKhs7GMXmGdR4VVDknqU1isDy64EYA4YODm0lxNdhD/QpJJWUkUBS5zISa5/F1phvHUsnEH+z45ATw/94E9QJFi9MEc+raJwFAGxwDJJO72X7CTGhoFHfqWuuBSxu3yyG+3tk2W9+sype2dNpbv7h7rT3yW9o4svK8wmQOjuiyeOrZMxR5131eGpZqxGLfLASzTzFJaGZNI/xaFznBMA8p7JeU23QMHbKKsdi+0q4jdYKGz2m1lGyUa7FZiuj5AQKQYK0ai8bTGZYYnoa0BWlr946T9oMvRzT8x547JzCJ2586EVsr9RZjtqAR0xyM5zDYg+kZnP3o5yjhSHVPT4gFS+a1SP4a6n6ysDYZN6ta9IrIYUM2+jlc1rPlWlcOOrfnomrK+oR/WIc+ZjGk2/LaU/zbUJA6AzWGT/owCAg4SW+96LIjTzQt42zkb5r/J5JFXorMXSV0z/8fPxCfsooiSWatSunlB/BnOGIC5cwX8WPCZnY8kzRYUy4Ykm8QTMQ8lfZ7cX+ESME6ExVYODT0F7vdOVGnQZF7hXxVwPt1qBRIDihWse3fn8G5Gqpv+uGHoX22FyiQ2Fu4KxJbkLoGf8FlDIIDoe/wF0ypXpEhDcrA/F6pJxWVy+w5o8vJtwX68RIqn5AzqxtkbquT8t/0kvDAULHTlzepa/VKWy85OxhZkG+twYuDmtgQxmCe8rZIRItgA26GHm4lI4eGQFGmA34hOw2c6t3hK02EkyXj2ZBJgqIajDri8jdilkfzqZHbIUGg4Or2RBMkMqL+MZkGdZp/K2ev2FEpek8T/Xp9yWIYZBcVD0QLA/LBfm+wPElNezz9qB0xuiAeeOdHRh1a+YRj8oZ8MJRReIYO7sMrfPhXqYW1anYHzFl2a6MRDqMNXiyq9dZWNFbrkKG8e3+a/FxcklO5+gZlVZUX+skam8cuOXtFtZWuDXcW6L6zvRi0Qzc5KuBzrh6FcuBhwNRY6UkovSPUL3pum7vjBBpBp+U4Y6odl6sVguYn6Okg2bku4se/SrpSUic5QGxjcYfOUyvCShCTvZOYjB0WYWukeU8TjsXm1zaXkRAP2Qw8HuyuUXfkvpsKh/TXiLU8hYJTNS4Oyz8nsZG7p3ql25OQoKmPmS2iFdvN2ofmtfCY82a6yhSr+tv49BbBzEWNPXWTY03xTGbpyg7P26pOyae/l5ixbHC7P66Uq+tvUurr8WRr7EeYbMvgT2GOprGKXfSRvXD9hjsG7rKtwQJzhg5E8CLkpsdOHeq5PcnEH15FPrZvnMjl38u8b5rxWuIN9ae6Q2J2R8Xy+EpXNQ5UFI7f0+U+MwfUM3x5SqOmVpcrBnRHY7AQdQh14+ABoMeAD2Ilnj9v9haoTIDELfFkfSoirS7uEoqrNtMIpInzVVlzU0mzvkyyLMuD4KxUyuN6zxYo5XK1onoI37xCe2D+hxT4Wtu9QQaWUUShO0NzGrrTQKN0KD7GBqRUMV/PE2Gva94M7ZmupCMRKOXu83xfW+j99NtOVmeJW/K6sjhyhDcheZMxx1By+P5hw8JT3wWzpwm/cl00FFmKlg5C7MIU2PwttiA2xJnKutnk7QKq0kEZwrh6kZ3NK/+t4/Hkj5qusXJhogDWojJEM3WMu80/JqBzBl+g/XvyYHl7Ue9aYjjgeJKvs5lxw5r5kdtsMyP8/OFGq1XZ8itxViEh8HVN6dUUYVNYXTS2SMnQj6nzsT/cRaun6BaZcBcdmN1qwMEmbzALHr1EOSOcqQgpxKfmD61VHgZCCfkxwIkMMLetPdWUxWqswAyuiMSZEpXmCGWqIjkpvRkaldvqUR5wYaMZnUaDMC1lT3qdrp2ljHGKsoVDepbXLKELdZZH/KfrvW32oXZn8oyW0fB/ywN5Z0mimD9EJ6CPjwy0KQ6zJoJB2sqymEfD/t67yeqa6zE3vz28agJlgS7SKtRuaDd0qWCp9EXgs4Ya85niNKe6iTLPUU5aqPWv5897PcHhnvwhDOSpefwWfTlhdt4ZRyE/ZCzyepQft6o1PeU2jzAx1M5svvbkqkkRsYC+gCOr82mvFk9gbDcxhCyCDIKYyQSCGlHk49HOxTSM8aEarGvZHhvoZdC6C1aKhNOAZx1Y9OUBR2VFmFnLvaioXZxR9SZ9t69/P1fnlG2C76VAkMO760+g1kc5He+hxHGaS8Ij8DR3T+Mz8uZVQoDB85VO2TrvcOA114+lfBwnn23rMc1tJR7uAa5RUldeU6AbTjrJGiT2S0TCoQkkpHi+dOQ/DiPfeiKVZYDxirRMcBjH/pwkwSfle8yDCw8ONLcR8VaMDeDY0m2FAmn1CcxHRe3Xom9bXsqvgMOTmT/K/MijB35csYLwO9IsMEBaP+rbTndpL1nEg6D0awIbHRCg82snva4sMkQLFoA8NHJcVN24ZP7OIdnRX0G6cAhybXqFgCO5QElXRssqUOj78tS8+Yd++fi9NGERGw4PPDr0zLuDp4QQe4zBDdmhspxnlLOUhKUxz43yn76rY2jmUWwnNQdcf/JlD2C1MQfgW45fr5rFps3FV8bfG4gPIBePJ/KoB6HXAImEvj/0/qrfkZPXfyWf54eLgsmvx5G7r8K+O5adH8cEmyK0URmYw3xvvBzORsRVXoz7j9E0t2dBO49CGFiXZjibVvt2F5MHbrGRwvK5E5DpDGHbfWQ0z2eYBofo+mxpRzFrzf+URAApW5lYu80QD4LY9aoZ3ySn8yh1ak/h/o4AN5uwxupmryWJRIrVofLFhBjoozGpWvjD7+fsKC+wGrHaFy6mec1NvSEfe6edrpx4BdQSDCyYp5ED2lglf7WByXteArqus/wkDJf/ON2HFYvTOx0072OQmv93utm2aDdWVX+nkhLJuL+Ce+j8ozVdAgW2UuEh4/vK5h1DYrsvypzgl1GTAqhVkY8Encgnj69VGKa7sk002xOjT+xJyTBUDKZJ7EPvDDhWT23JDcC0GaRSUgo6P+WGPOnqEFNMsO1B7D2KzTZTfpuYKHQ9io3zWP9QHZACIyTIUTMBaZd7yT5rafrnHYy5gYs/uIUUwMWOWia8Aseiy7K5WhNVog4ZavZjiAdpNG3+GQGKWFzLdngFy+0Ysf34MFb61fJg4DRZ2mCNFMwp+hxu6BlppGyU5zzrU2nj+QXW/4YM0AEV5ybrZwGunZ/RR3fH9tSzQvx7Csj7didUAgxru3g6e9rIGIx7YufYLw8ptZh5HmfGBC7Pdx39mBuBYlcDsGdxpOg1P/7GaCwP3GJdtP9d/pa8o8i+qVUGLBPM+kG50HFBx6i+k7AX8lwVQEZwRztqqYcyGBij9tVe3z5lMiy4K4UcSYGA89Ud8mxna8OkhgHXXsAFcFUnwtPn1Jqg3oXZLAdO3nPYhYXfdCByVdx6qZA01I94KYu1S11A1tNo/fxkxQ1wwwu35LgF9aakKTzORoh29nqHsdnKjyi9TDbaa+g3nSKjFyrkFD08OJzGIVT32Pbf3IFxzAYQk6w5ZB4MxvyaCD/ujzcpjsA+TQaxjPDA0moLS5tu+sIWHotLeYoS6pHjuIfF9A+jiSwY6X+9AR/JBBomHWIk9ZuEN0xplS52pbsByUtsN8w9XreNYFCP4xzl5QCF2hMl2b751mTyIXSzEYcejqPw/g40/nfBBBIMuLnrFu3/NAwkNWvAarEBpe08+/hNCrnIhqLMpUb+pETAUVbemRLpzOqAu7BXAWJFnwhIKLGirvMv4VLyF1idFyYmboDF4DtvypwBV9QCjvtM7GT79zso+SLrkivfzl/G36J+OTYH2llKxZVeIcjlKhZfBPJK7hxqfRjD9AgKMwY9NcAMhRIezQfRJjjrgRiyK7iUx1fe/HfuNv25O6WASqR++/8DfVYjj3jrMIEb3DRFzuwAlOVg3EQ1Vj5zXTkE/ebqrmoWai8H0TjPNndlXpQGh4U/zIg248uiFNYXywatmPILenXcUZ6cnVLUb7wt/Gpl/XBZ3g4LC8yeM0ua8mwrF3uEU4fIVg51dWxh14EEMgJGcpY58rHY58aSkLA2HSmDrl+1h6UGfltz/NMCZDi4sA7wC01t6yCkRzAMNNkH0CL5QrjvVILoYJeBWVGH9VowMJuGIpkbCMLx0SwCNC7zJUbkM7Id6TZGnfNiOkVKpbQhKvPtJJYBi4wJsgg98CQPn2GXeKGyMSYRBdG+B3LnG1TbvaHWvuKk10Kv0Y7Ve58VcAcNFv1gjCC5VuYB7rRxUXOG3NNy+s8K/fihAGO2P5iDn32CW9J7agkh6xo1d6yiKr+pWervrlAtW6mFYdy1dHCYvYY/ePi990hBtVezX/4jcSBXsdRFVgC+uVSBjw/2thP7XBlePOEvuXsop4ekUF5lKHuEAz7xP3ThIUMDzQ2IwUbgCeMaDJvaO112Q8klwi6B3dxnSlPPnLRnuaDBAyBU8LgsIEbENt4AjTxmVMOMT++sy2EOfJLNPXySp2RMAYPkfNbAuqPOOgSmEfXhQ2Y3VKjD1ectmtKe4+FsGJkJ3lEnd4WIO8atBpF5dUeghxU7VC/053ExFFr/WW3LQUh8stQl/tycHF0hXDwtqOiRTDU4QBimF98Yb1O+TGWlH578DpXwbBqKpE7TZCENE30RNO6AZk9WE0z0nGkda3eRlPMjJxOet7H5GBh/H834xBd+dv0j9nGAMgCOVIq5hMfWjZeax6FJTK0qMbEt0Ykl0JBkcQYojixgSUb0T/cwomp08StXDo69tdS0J1aWxRmYSgmZDeHqhBI/h29iDNe//BB6irPRLGcmn8GxEO6ZYReQQ3nwLXdQw50P5R/38sEMr9ziwMoz/Kwc3MSWzOPTLuqkAUVuvMY5BnbyFYrqA7e12T3mAUWXl6OF5PLRD9Qf5xW2hRFBpkcZilIysUiusCjK8Io/F4toh2iwIzjt/S+Xq9eI80ObLEsk7ck+I+34w3P6LXFnQoQnBQviNIJ9JOWgz2qj50LIwX6TnZt/nnbC9QFq9bHB3gzZUCgAvc6X5C39oQpxXrhIjVe0FdaNnwbg0E6vul1IqvfqF48fQN4AzeVWLI995jkiZMOFnpdXGjOdG3QSnOqIT5+2C2dEQimoI24oTDYsxCTS2lVfBH1Wb0E+dnkBlfoUl/4ETdHQTHKLRznpgShcRGSyPhfjV6GAz4TrFU9ED3KKakFCSTMFmLjvEoFI+xjrQusVoehBq4ToB+mL+HhGkOxVJYocZpgkpwiI2Hyr41I6TKO7E6bJoMurAHS5rOaF0qtoDOmEVWqNJdYVax1ilXr7nOZXplDh1xRU3mIlbdzYphqn1yALnk9Owi87c+r5ghxT+QaC5oqYCY5TckgHZyPhevDzkIkuDBsPxKY0bki4FEmYYhd2gz5DyJ4vdiIlTDnANtYJ4w4nNVIVcfp5z8q+eJjDX/xXMA6nau6GZ04HaM5wSImD5vo201fYpERgeNYmwvG/qI+XMAbrNjvJ5I30APOXOaOQCGM2aBI9xZ8cxkXAyH2OQIz1B4ln/l9KDZUlKt1WY9MND2LEnRxApaemjm4xeTl/R/xbS+TaIjtzFZNMOLRqNM2BQTwTYMv6xz1JlwSK4Q0Ckw2g3deLpuS6lXkQ/0Gji/SdfQDpVrEzHZygp6fOP9UbCerpLOpmBRMSGCm0S/XAaJEGeRXr+4JBAZwuk8zKRliCeLrwCX4W3R6Y5YSPKOfZDte5xTyS/YIirNgWEOZVGaj6sLofv4QcyD6ZeMxoHUuR0NzhOhuLZLR90Te4h6BxeDN9ZCSqzvCwWOqRNc4qRDT7DsFZZNyl4+e7lw35hXLGTMYa9vzKSzGZUt0C2w8Hi+lZQ0vaYXRN3/psr4Q9G3i7Ewd2NYdzwFlX8uHSkY8/UYsk3IWGaMl4bnnOJGu2sHth747HrDmbyV144itX4UgCmHGJPuQ2NnOdAsaTF+BV/5xk80hmobu+3Jb2NBmoJg35K+x+r5ufPf3OX2gyc8I7TO/im0QnWIqQYAxKnMsf3eaF7yaLpRsJMnnd2vY1NKm4Hpq1Gy7nKmwr5tigmRxVTYQxS7Vveq0W3if85grJUjKOn0S+rjGVYiFTavFy31lB2YAlcU9b6rNilPYMHUpK/eGVWPinqwAeAMdo6kxVesQPehya2yef6SI/5d2fYzEQBvkEjhMBdDmtZjZE6x2/NMubPE+2z2n37SHow5Vu/qLnDqWY45zpncXwrAm9t2HYf4lZuHttugKCVsj7tg7fJpvQMIAtZSyhRSTBDrW65t5JXX8cFKFsxAzG8ADCKfylMQMPLVmMKq63Ihb8P/p22r7V6GEXatNcuk5PE0uz5t5Ym4+6hKWWEIIaacD1ANlD3aVH44BLC0cjNJAjC0N74Pq7HIN6A6JNwLLAWsSldgxN35TcWYt1Jz2WBRY23scVo3xHD6gPhuW13udfkuLmdOORypbXrSfKaCQM9kDTUIzeihkHDsU1JqsgAuoW8kl6ez5OR8uoqas9u4g0wJWbvIyfaw2mW3o3u4BUA31LaDO5e9i2Akrh+MKs9PNv24aKr7gdQeJYtPGrD5/X/d8eM9aqnEV/WaBDpogL2AZai97cp79PwwUdInk0So6pcZ9Nws3lXGrU7ii8k4sWQC2fI23KIoaN+d6Tgkry9xnEuvyC2HFkmxYtehuSZ+mnkdIQUV96EVt/G3EgWGi/F7tgMsaxvR8NeF6mOCHuT+41a4E5rKtDrsJRUf/ERb8TCKQzA26+J0/MAYY7ipfNolMPJJrY0No1c9nBJNeXJVo9wwSu+F/VftCMgZTfWFe0thHD5TJl+DZOyss26bdLfDyKCjXfveWnDwc/eO6ZDT+pH254ZOdLoGlNjW1l7z4SZilEAyWdjgNHvXi7+8A5fU3mjYi4kpCW5h/IhuL401ucbWsTbf7MjFRFNY/NlaFIlsmTOWG5MJN0EQ1LMWXtAlX8PdIca9v4fFNzHTVsJobajAZ2U1SW1gYxIF12XWYV+q7Hi7vF2xAnBlGVOJ+jAgw83PXSwRRRR3r0GbW7apfpmhEFEtJ5iedDxKk4a1aiQlY/21ymHr07AkMvMM9dF4BEYtlFFi+zX9wS6WWkMDt+Xf4l+ZP65YVs38HMNkDZ0D+WwBLnEBcwZY8FZVlktENIpOYNtnrxCcs94To0+w+/GF4BQ+3dvsRMWA6c8jPKDuvMVLnjDR+x0bIS1ywCV25lY14g1bF7tzCkGD2WifZTgPFFVabVONH/AQb0YjjJTpnT7BMDEWWJ+6tMRK/YZqmb1/ijiiBVRua0Wu4MRMQO1vCMqm7O7BoQfsGTjnglyxEW67ce6qeZ66Xg9I7SAOImNIPC70wlC49MfSNi4KFQ9omCyMwkDBxYBgGltoEL1LbGidQJJDIf/OtvK/lbZ0JTi4u6U6C/vhkyIcrCIiWoeLKQhKmKdPR16QxeYyrDN2mO88HOAHwTFJmCKCImMRPq024xbAysFVs65SYnslFd2rfEwAu5qXlqGxRFfA6dq5X3Qf7d+K8D9E+kJ5hnCKk1GdlndPJ2VxRB5XsrK2jOmKzkBESSRAdDOs/jpjhxIfOZvyhyXhDsjnyst4ffbX5W0elnO9UcJA63eKbtYz9kxOZv75ygebA2T/5fU5hK1rAuL8l+RMirHop2NBm5tBbA6habGEa/Cj7vw8/8mkPdJCGUF1FdCJKIBHwXq875jM2Y5spjswMBnqacQnGD04gGcyTLsDdU3Vo8sunJ88gIosEfy0N/ZRC7OnGK4bDTfO/ov5+SVNkNZQ2a9KSynjPQ8JAmvnUxJcJLbGhwIdTwRBXNwZgRi7fakcbj1EGg2mWjqiARnnq1hfsAwFC0ZL1dY53X9uLlftQhDFH8iYUWLVX+oZxt2Mb05vEarFfD9H1Ne248QYZWxseNlBYFKC6Rn/JnMxCk7onHpzfS0jKKIrfGqH+oY66UNXg4YO7JPh5jT/W+g+XORwPF24z814kXfO7WsAH8+h8CYw9ofhOychcp6ynyznR+3WOr/TmORY2ybVBoDoEltB5eD5vwMUKNA4OHNKNqjQaarMlfBkdHeXD6Km4cQ4bwzohc90ePwnhE2SuK+O7Ww6jFljLmTOkewLeZ2z4jeByVVbz0GLedA/FOXgN6FRUcdogZzxXYPuQ92XgbHZrYElmU0LLsuH3FRvmEYU0/UOdYUVdhrqFxHodXXnZFLCx8MpvSroKpNlPO00dwcnTni7sbDqn+RVEDzNkn7wLBje32u/hDz7njPQJRVG4jz7iWqUjMYD3fltZ0mpkmkk7C5q6o/YzY4gIP8wKH+jymg7Beh96aIW1NkstKLMxGukxc1BG7x5BdnGPVJ2UtIUC4F1oyux0rNfeBDnCNJ9iIVy8g0OhpB9YiNopIYeA1I+LpJWuTXmpj8l5PBlavePhO9PMQqKs/j4xcRclYCB6mMyUhe1eXS0jjrC3wmn1IloxvvJhKjGpKhBYjZDPVigRC5R7IQHtmRliW/EjzuEcONxe77q1VdTZjbxJ5QtFquy+BLRrH7QkxH7HaQxnbsoa6RJ1mziqOpT9OQeazFZ2VT2S+RDFZzer+4LaOANd81r4ylb4hGXetb2ZzPSXgcAuNIvd0DsCJNd+ybSYRbqws6lXHvJfs1NkoMojmCi7TXMTzlmzHrXAQRETSSwuClGR6cSGfqTKFYyXjWzWxK3ometajs/jp6LpVFCH2J8SGQ3YDvMCieRyKkZHD5gxEiFj3YuPaerbtGGJp47nabvXom0oc1WPNulrX5Dx1rjlGX2jf+80+HZY8/Vrdk8H9A2ItVU4SqtdmnL3IfIqKO615lL9BQEQR5qisSIVoBAX7uQrmXhrmxt0sqHkBIaPzudJ8Ul6gP6D5B7RFqjywdr4A/H0BBDU8FgeUUFAqm0z5z6JzytehlVA3HCTbt09+3+AwDbi4POFmZtk99MKr8/LZj9LLwt9D8xZGS4kqLW35SomjAvhVVdCNBRoOw5ji7JBnov+nf/5ikhlhS9D5GGamB5ogbPH2LvGKvjTiLoU7uPY3w0yRDC251AZiWdIca9JbfkVg/ik5BBKaPyPw9z61RRt01kxa5PbS0xW2gj3CPOcKrmIP+JvD6X07RJBUEVffa3SuVo8Ize58ZhR9PJWSYS5lDQwU3zb2o376CPIvS7CDJB43aS2uh+iowRnYFRheVt4Uy5JIfqqNay8flklYkbc5DZfdEyytXRXe3z2t9TKMzqBAT64wuHI8X52rGkD5qE+fUVfwjRqmOoY1c+kiCH5wluyaD2aFPtQ/5HiL2GyRulgWKnfQM5kh3dqFNjQ4oSqSi8UItMyhOxyLZqQ+a587feGsRJ6kPO81+9czQLG0QdD1wgidfVCb6DqBHuMVTuPPusQzIlK0q6E/hEH3J7zIVSO4X6ivEUccExjPoYsz1QyMmsV9terDQcSvRwZ66jpWQjPnDY44o3PqEnO/k7r8LpyOVjEOKz4w21KzPUu3ctajSV+iuJgh6XKGOZDIiEgiK3Zvx/n0MprzNFLzPyzlG4dCLoPZc7nBFe3OIyOow/YoyLHYZ73PWVCZsksWXB2mrCoFaPPyJDOLD37iX0Go6AxcYgFLlgwuhukY7Kg4zFlAhN6hl+CC/TQ9+taoVO3VWKdMWi7Jc7JLABV3zJZ68u25J9YJILVMOYbe6HpDoFSNy62eHRNfzZjn5PyeVPX7qZRmU+spKSe1w4gBgoDPfvjQia/B3AvJW8a72zbKy03UfVnS/W/WSGSqECkOqiQdtOSwJMHW1RqYnJ1W+krslkG+n64dNatYrDcUceX0iVHQ1M0xWjdR3PBFXhCZ1HpkIc45XtmXixp9srrw9xeHTJ/C3F07lW6l0m9igS9ZqVxgREGV9/XMiIdUMQXSHPE70hnx5ebwt1Ampy+X6PdMA5km3b2QwYZNCd5JFqqca4jhnks8lNu0ulOE5J9PnO+7o6hirhzIjfQlB0p2SSVfPTQVLzDLtHLY75PDO8LlULP3WUr+7ND+qnoKBF5+/G5N8xohXT/TODUKbgkCY/THEhDO7DtYCL0nceAPo3pg//s7D9Nd8NpX24K13Vr/GWXSRTKLcAYA5dqTFm/X3VHznMGL/waDsGX3OyIyvx0Z0PtUxPrjn1szs4NeqpxbXN9/FvJCUzvYktd18fqhF+iEPWv60FznG7+BsDLmlZD+xctIrDmXv8naXmiZq2M2ZxNOsrRyKn/I3Y2rA26wgkfs6DUTTvb0KygrhI36p9i+GUSjKRP6altTQB0PfIalQnlQ6mA31jO8sIhUlLWh1GrW6c4enAmTVnXzWUv79fMg815JLWA0Dki3n37Xane9VLJk0iy847HE12ZxYKDiGDc9ybLXjR/pGtaxiRyr+zEplS/Thy8nEtrYll1sJ1ol1h6K7/aDGsFbx2D6bPzwDLXv1fmdSBfnwLzNEDye+l/tBKUF0QtRvCBRjLH8S53+EbN5lwgQ6qoEUdIzOgjF8UBOFl2dS6uxyLgatkAiBRpRxbFZz1fcAdtE8ZzTLXitXZZ6QRkKRCnKYQZrJAWEy3hT3ljM5QxtBW6wJVIaNmEREembOKvzfw1+8VPsBSfsgOj+V0OSroUdb4HE6lVkK3NvKSDnvVxgAxSlgQnnViENLOnv2LInwyqHn0Z/Uaw+5zFJRdRnPS1c4juEiJwgSwdL8G1jkgQWWM7sk4QZvKH1B5PEodbfRm6XpjUE0k9CknUkssphB0BSZr8qprkAenyvam/7iqlHwsHtsx9hP66y4kf1vRovAybSWdGcc0uCMhHxbKy0v4nasvJG3MPZ/8j9GBWF54zO6VUlQiHfUNW/whTuzFT1swd+85sRcJUG1qLxNGixBuwL+GQ7LW+pbHL9omZpU5E2z1b30Bj1vAx7cTPXzQRbxuaZMic0hkpVhXUnZukg4azny9j1DmAT1BnVn5l2hZRyjx4qQchukSukiCk2tiMsMYn1kW0s6FeGc7oeM8D4XaJIFVu6KnlKVFWu/OH1U5tpzzL+6bZ1m9hj2og9suL8JFRjZvzZzKrQ86ycQbVKMIUUMpVE2Y7hbgGOV/dVKpTsrDp7YwGURZJIXvphf5AxK6Ytl9gxNX08ZPNiaxWX9vV/4yoP4AVXYu3IRGMCFNAvAsnoH5QabqZPFQlXDDKCP/AOfhnxounPwWqu6iI9Onj8qwiBR7EcvX7PDa6K/1UBa+TkrrLqP73lLgm2rv0iUPNH2wcRXadhPUTmDQLxvXat0HFvb22zq9gfKUvDpHd7Wd2ej3OC0w5Jok5LxcLN+sq2qHlHwnJMS8pHr2z3U3JgUKuHCyY1gwMSrM8ReyobyAS5ONEDDPU2RjODVz5lPZHbvyMNwJL5xb5fmiR9r1iFxavZTGZoA4syRZFiTB06+ctBfNRF7SC4cP08bPWUrdMqHjYINLJJ50zevGZ/NkGhzs2HauD8vx8euW13Zed0FwxbFWALqRS5q95Mtfc1bvwjfH+eaP3XSzamIYMZL2TyXlKypfsBqG/cpqFC9mGmmibfMnpW25MJbeBc1jZfva8prauTrSn9aLmVxS+rJ5owsvCmj6wNPP+qd41XYSoIUz90qTvseQRkH3Nh7r+ZAvJK5bt00SOKCPq0bbd25V1xRDy7LhSJlVTJpAwbiiVHPUh9OLW8TIPDFFAOvXUQkqIImkgipLURY2L0jlfLs8K0Uz4A98nW3sWOIWvPY+KpJt9GfWKkIqLpE2PQt5wSTTGbWrSa0LEhvA0xoNKokvfrqe06EZTSwKvirVb9v2QlSlvo3+G2xAJoiJVtW9Xqo3uGFnePuvQz/hSaTaa3O6ngd73s10eTU99/39EXDjrCZts8RkUkD1PIi8h5Dw3RNM+6Ensco2xrPsAKo9l2CNZF1xS1VJSkEwQBaFETUl39OV4Xw+5j9/+kZxFmP4ILa+jp5zb+AcV69zbLRRy8HSOwi88UTjHCJZ6cyyzjpk3aCA+Q2qws13b49Nro+Iziu6JsDKbiCRLMfnpNsoW9DNOdjcxO7FAS4T9FSW2ZEoivGRTUUlyuNPXUQ5tbZp8iczJDP9BZUvBhGFeR5TlA6Xwk4ns/mQ1GtalVRshpOiWmhsLC2LHJBSeGyb8hmomsOmKDwFFanScCLlS3evJuSlKyof2gVrPLO8m27IN7EdmmQNpy1Lmy8Frv82nkqVTqxR7qohlOhvFzihrC/7GpUDbVJE7rf4IfUJRUHVOGIrbBjwY/CkIOLQZ5aOut/kOsOMKXnNZqmbsnBLA+p7LiONOUtZQj+ct7kMl+QjuhdOs2HHqztAh//IqN8KRpkgXdWMaJLc/4jrQhX9ySe1bbBSvPj5VQxi6YGSEwQei+HhzWjHc+YCO/ZlZBaHMbV20ki4pI2nv6jtRbFkFXKRrafs6B1ZRfo5dtpPa9JOJofhrqjLHqqdbxQsItwq/SjHhe47OiLSpEnST4QXtexfVcsSWRL781LaOMGP7vhMlXWrqftSSJ0XiH4a70KX6LGjk//TemzBCLIcoDTnTelz7kOAl+G3m53zFqJ+2WeIW0aFRro+izfl51BvU95ZtgeMkMIP1GJHK9Bnf+MwFGo+TWHv42ScQ+TB8tjdHPwlUJCHg99hcHDz3L6veEaN0WS2eW3smEMx7jb34pwGVQxicEGfNxKpzTSkTHPBw7vu9vapTJ5zSuzDlmketf4PMM+TOGLimyrMLapX3o5DlLJZIXxe5r+KOe6Q2GaeGgDAkGLybJFqwIizxHqSwnetRF/Jdly+IjdkQpc9bILuW4cDBedi7H2aUL261zENwxFRQfhFMu1nzkdpYdCFBvPZVROa3nSjNw04xPFxt44Rh8rEVPExumAtsMLdyUlsv1K3o/pHs+eQQO18oqEC2OtRYDeNCDMNvedypsoMZaI3uLNFzuhCLLIfUHgbGEgiEpB2g2lDJdicZAQZ47cnL9b3/dcYTPZTThhGNbVwS17Vgmn33nTe7UwdHQneEHsIot+tTATT4tUWC1HUwFHY3vmOq1QRE8Ko6N+Vprvkxm5PiAcu1S9ZW9DkxEE/fLNdVtLCuuugOuJ8w0icIrAT+AlfyqHBeh5XurpsXCnn7dG2OPw+IJ31yGyd5RcHSHSWNvH4WmDGGZ3PJWc0cN7qXxvUqfmKzn/bCQw25PU+LW3uAlXGlddjMQyNA8j9/6PK/SSFPbyaKU2xkELC2J2Wuow9/1Ra292M/jCROKGYNqTroQwjz9/yIZmvPAo1pgrGo4A5fOsAZUXMimaV9rO4G7XKUSGJhLPgcABuniQIeNGA7eNfrHZvPT1XrlTgrJ99JQkXnfnJiFn8W/LBtgIeJZ/wz2+PH1vMqvKMb2WwS5wkQ5pW9I5i8wVWQJnT2hYK5Z7CfLNSNw6KSq8tADDMS6+AurNilcL+BloVLLYgMaXWfeIhmABSm2WWdR3I/sBjy5oTTy3a+jkqG+YL3ITtKsCjZF14WkBnO7A+jYihxruuO8QXJovMZef9qaexr3hyD/yUml/uls/aHjvWucnkqiHKntD91mDAHEPY0q66otHBy0t7Hal+Wafb0cBmbiSnaRppZgXEBi/sekZh0F0h8QaM8lPq8YXGVhFt9VgoXtjQMdNT31wEaY0rt7nde6ZebFqW7OnQZzLdjW9DvZF3uRhevWj7vHVIdDr2nzMMUlOMsjxKQSKlBNyaZ8Qcho8fyfcByp0SV2mG7mAgViRaE+e9tWtNUa/HK3pE5NvTRm3NJNVYU/hgXp2hv7ma3rz3pmlWd8/izxH18wrfLzoEu9VAHxuTGo2vzhj6gagVl4llcBI/YMbrhriQ+vhc7Sml+E1tDk7BuvZrNUDhGev4e2ijIagx3Rch5jcje6kYHTpjSI0bUHuscklDTGOT30KRd+uTZfS9bRRJCiNRLrIrtDyKmNblMuInZpCzxr/SFxHWtQqjADzJ90SFFKOjTCzPJnkpSp+TVYKZQl5TW77hcYIucl+pQmVftgl3mpa3ikn6usRzoCgMBN8f/LZrI+2UG7TYHRTEMsH6t1FOzGk+fFRau1wTPozCkn0Xns4UEYXh6hY5fi3IxH1IaNYhq/C36ITmGDAB6g+xNXlsu3UB11Bx3cMiBBjRymjlBZYD1+oK6VNNi1gDaeZV9fZQ1DZEyxbcehdJP0abGhzFUGC8Ye4c9kKcIGf0v7MN5pyLzW0AzcwlL+IKQ11+IsCB6aIEi0kgvmJkn12f53OywvA/en9EuDhHTjd8IXbVbSsF/3Ecsrq+8JbbDOCSEZS5bR6Uzks9pIvVR9T3oIiOT5b9O/ms7Z5WBirueYL0xuZiNXkRy3I3HCMX3wrU8+eyzxOnrtJ6Q0tslcZ/KYasyNOSHMQTCXFC+G8yY4sW0+7vLd9/gap2xicM4MhoD2GQ/kIGzIGx/zQn6Gs3phtyywd/SI4dthUIZAsGOU7tTnbldVAdCBPt/U8L+c7MsDy6/7MUsSCLu0nK8baCoskUT9i7Chrac90W6PdN7MP9A5CCi0h7mmtH7JxXyluvKAUTFbwXzrXJxalDtCU7tSFL5c4w7fnzIiDmAaz9d/h1QntXyGV9H2flLuwsznfVd5mWUgRFW4PF4thyZeP39MOvcHfqien83+TWYDFRGWa+dP/N7j4l6u9R63G/gooNr0eBruIR9P5hia2jEzTSZsf8M5jvbJkxZTd3GhvEn+Y8buhQsTW1y+BY7gSrTqlzBC4aCl5YhZJ/LNZ71/7qjkcbOej7bq0tiCe6ZcPqwdwX+oa8vIY8R/RfXqheY3EGrjAKedYuZ/Qo1ohNmPkAj7yQ4dSd7ui+3nKYrPg4t7digCVvxVpKSxBtTychfBVTe9VVcbkSb1KAi59aWxqNzVVgBRdScusjrkJJdr1ZZvmqZh24MgcbaduP9V7XDMFVioUbjv5l3ANF3DlSuXl1VXJU6mKro55RJuUgk+DQbYr0RWSmeq6uleM5qmb5CxNltmBgpwDgNCm0LdZ1/aoeYCbj4QBeVpS6G1iVa2aHmx1vXbT/3pebT4uvAMb4DfrttbE4f1mO7OSxHSy9lNRYVbjUfifvBTFK2v6DCSKBN9tcCt9axycAE/iz3uH9woh1PJkG8ymFV1uZGXsIqA82pb+pEX212+Q+EGi0lXjnsSqjFeuuH1LOg5ixGQHsPbqV1X6eGaDhtjCJZN7AlKvFLOs/yrcJkV7Dn4v4nj1GeFTs9IkaqKiEAJwgFek+RL2GwE+45hk+Jl+2jDDnncjtyQZrb+NpsQL3MTQWsLg1j8WzuDbXmOD0BBRkEvTecil0QNCEt7Atm++8jbXp7FgDkoKz6fot8m0GeFYc3teMs773rEtjLEHGWOSn/OXphW1UBKRRybOb32h1LfZrhUHbuJ8imIlsnMHSm39tLITuO8HaBnK820qYfX+jSD4+I1P1X5y21xLJg7Nkfsn44B2ju8Eg9aqsazoJ/C9WZbgBNp0mmw/hpB+BNgswZtX6h6xXXZ+iuJSZJyV3B6un1RH8sOgCLymKOiuCXbOvr8hN+ge5JjXjrVoxMhwa0rRxEwLZEU6YdXnvzfx5p116MrX0tF97xL1AOxPFOBH0x5QjjfioSPVg6FZwl2jNaws+G5Onm7Pg3D9IMS51Zh0PkY5gmAGiGwCx0PvRAw1IZH7McLVykV03+nEE3sF9a0u4tQLF/J1rHK/vBWFEt1Q3cNZWG5K7ZLCHQV4zw9NZ2NL3RF9TOj10eub2s90D87KZcgfHC8AR8xQjUqbNeOnIcF4VF1MH8FGUG8wiDYFLEnB6xp9AhNvxSkpxycRVfiNixNr7ogi/aBJy7/MUMe4Z1KWqDRh3E3AAzaDuvgrdw2k2b8m4r6fKHtBwxfX8m9rTWR1zCcBie4xaznouSARLqtBTqVhNx2SOCxPC5hasFyXD+Ec7UbU8uqfoxmHeTtUpDmD5u0wqQHIEoa2+nRBCGhzNjWfvEbFo6SCdCeZg5b+m6dYGsHRtiT5tSHFNuG8mEi5xGBE5R5gUppG5L4speGBPcsaY4QsM4wKPI8f0Dkoy6wGp9oiJX4FWAKX6yn+zl3AWI+4leBDNy+Ug5LENA0wYhcp36ADoZv87JDDTDOeKnAhUwNZ9Ychc+WlhP6duzw/UkB013cKCRNZnJ23JzmagHZxgAQOzxGyk0Py+B81kwy41ShhQ6ZmOBEnDaHaqd6qTiZr+MRkPdXSDuJUHQWqKP+LYf7Sy8d//TFrcTkvTAreNmWNhULga79ypCwfzYgN1qo4TTVcgs7eNjnMgaNtFknZIEQixqiTarg5HkiR7jbMDEZX7ScASwNqOuvBHLaLczAaRTgqO79fHeYxkimkXTETRTcUXiL1lQhSpd0wTkY6l+WETIQEx+qA8Lpl96nItAXHH3niZRw2jHqubZdk6tcBJ/971dq3RykQqZJ7RL8NQuSMWTuEq5PVBZx5QIY7S7UYKnMBVVA4UPpqcqW8pL9A9AMlOKXfTLuVLhH1V3wlQCbcYb6oygTCCJfnFNODJ5H6ZmVh/8H0Kg1drMpakUo/m8dW/Iw1dNfLDcLv5nLad6jVe4gQOLJb4EBxJ1avYjPpzK7TAhEa1ivLZiZ7cp9qVluak2Ibth1xuDohF3gCIFqfaS6+T962kyN7pq8ROiJg2Cd43zmbGEnZGHGqKALvaeyich1EZmEGT3xG4jRNhQlggY0AJgMlVeG43d1MAODawbs3e9sCxmzRN+B8Idr75i4uzng1Tk5pD5dhln75tvRkYaksh6o3y8yjTULZDq1Vx+d0VlInafui8CxWPzwhg06pO42flpFy7+mdNWHhSqao81wO6SecqN5KWnr7gh4l6Q66jFG08xtHqfMO8angAdNzrZDtpwetzdzNTikK5EzWsCIjPe5aSx32Bko7KYXlB0/iIGvZ3vK8lQmEQxvNFsO8Big29/1kw4j20q12pXb0iVtf3i2IkCEE+JLBs2/3xIfd4aH/AdxVlfIoyv1B3URQ1rQmwxzr7M9FV6s0NWJ3fHzeJcY7oyF2XcrokgxsfAmbXZFWGSm8luor9jKQkoQamzbtT7R5vS/IVy181bF3QP3wo52Q+FF5XKImzLodfGsPAHXvpMBR4P4jwiWkIZOOtXBMUy2Z1//UAnsDuRwmVqyNBUlOCRxqA/RF3d+qzjvtb8zLnvE/5e4LUJ9mxI4vnoAwYyO9nA6SjHGqpTUC7XGPzvFzrEHuHIpkQ9RT80sKZq7H9smpIyHFbe12GgzqhzFeSq11M/Napou4P5Kb0cPCVRw68MDVtqGcrpyxCqLi9lrcsUi8BQBXJ/QzgYRJeyJnmDrAzqcsdglWh5a1afBm9addrcVJfQs2ALLjnuo35Ja5RgIvjzO7BCPgo6r3zF+8eYSNdKvcTSkokGMJcHImW86da+rKPLUmW+iFsrNpgUvUZoIxC7C8wzg9FCiNC53gJM9UKwDLTXMb2PmG8K8RUa7MPh1P6dhYHG6mPKpcgXrukRTgNNf7+QcppAiXCFOJ65PODM89qvNs+33mEodKah9WVCjiGEoFC6Ln8ImdlsshIBTJnMA6sro2HQBGDRZShAvnUe5Vj0iyOirGPs2THVAjxTU/3hzNTqy8I/ZqY5pD83gPrtcIU+wPYNX7gNFgE29471I24am7iuNnr57M1eXoIE1yfAUnfTnsBA4Bgj6gTcQKR8w1DRH8rdD6UNIAfD5RSOKcLhpuHUvlsThcI4dz0qaUnmi260TPrv/dVjpWzb88IBvDGDYi3yFMQHcNpUVJ0TZDWP//JljKDoTXjCZyUiv3GPWJFroA2EEdsG6d7TCbb34xdrG+liHOeOKZKSax51X5Z7S4IdlH4GKLq2wP4VQysRfr52+e3U03iTPcMLZG9DjJARYOlvnYpSpG0n65i/TNxWOrWr3V2BXRg+AEnhjNbmg1nFHhcMat4KRPj6xVytDAZn5daulqN4kmxSZKfml6FjksvqgdjBhtdkf5Rdnlw6Zl1C1NnhCxHrDLuNoMwMnTfD/4Sv3OQY5u1rd4/U3PelzPjmcaFcYIGUMkocuq8ilhAHKMgORFrPQSEG4byze02XKIqIxfu3aJvZb+4Vr3v1mIA4x8Bp8Ap7JoFufgkx9j+BreZC+uV0pYVpQIrs/HitYCecIFBs6qddNJu7S+gZrsDWZ/pQeSLEI9QX/j1Lc4GhcnebM80/uQi9pcb43gkg/DMjpL9j56DGVcjUF2N+OilwjnD7uwYyzldbgu5YwfIxOIhAjuZUDeFk1SVuK8TAwTHY4dlfSjtRSom04jDXCQa7NQPgaAfK+k0qSB1P7bt8WWpY7Xoy0nn2qzm1oCFuZOV4FIgvG7XRW8aSQ6rdF/kNiw0z8+6C+HrC3crInTj1emSlWOGr7pUMJ0EGvcSWiLr42LGcZyiZ/7L6dWeaw1IPGCG5G6I6Dkk+mPyj/CBD3ibcieMX6zIOJq2BT7C2euJAu2bVpGVdE1WglYM7ET49lqp0yJ/cT3nxIEaBit1lDQSYrtD6vHHF+2B+ILRnsYxnqECtb7JQAx+kCZZdxKRDjzIDDz2OzzONJBm5RmJfAzxMHeaFzKmoV8qxSeShm/5WxNj7AUBdyBMCfLR39QVFIA/XpZnDme1nmxVV1Pe4NSvAjyqrXjA3aHe5kc4vJog8JRWslbMj2akLsBNBWfEAQAgPkKwpbiwhzin0YR3t+TD1U5O08+lW8EG9wVAy6BPw8v5fuGpuJ5y/23BOOWa8U4omyLfcyfOqLlZDCpDJhHojB0WtZOkA6sPti/POqptOWunhLEE4ZluCAJBeJaB3HtrJIH20ZTX+IshoCJCKNMubxvlJ/iuGQ4zW3Ex4sx/BsxMUXBdvV+akJIUS+BNWBoEbBx+WdIcmJ2yqs+7zMSQ1IGVzo5CtJBDxVSt0VeLH80oHxkLpfzgs97KeEy+sfCRuVJRSpGzSYPdKa2K+AbJJ/x5sdeA/cSUgszeEmz9Kv1lkCRe6VzZw4X8diUL49U9zCG/XfyvXMhA4XyQCZTzBk5qWDSSgo2ATcHjHxJCu4XCRWy/rSy66exF5VJ11NJv2RMNT8HF92CwROdqAUjhhKBhwtExPLTqgIMSW3LbudT4//C6axEPf9ccFOB94ZA0PM1kPAlHTgs1pdgKVdrBtHUigdzChqowBZ1h3yxeYWBqOZ/QvwFdOSxNCXcaq9i35cQFvwV1jrvrTagbtsxb4yHiQJ7ZqxyLRTJ3Fv5jVZPOU6jFtiy/aoTbgQbPhdd4hV0j5fcihh+s02ER5C/S6GkfFYLOig2hxgkqd9UcjtTbSxFibaz3N3ajiHYLZ/SKL2XnwR/Xb+c7lUCJsCij1SnggeL3NLgSFom1Gn6PiJEhN0ZJthS44hUlSEpGb/o0wkBLKqWrk6ye7liaRO58Go75w9dqrxfoZikmNU6cOG7PWX74qq23EGgBgLzX1YlNNWMpeFFvTEohzOfG8/45veMpGbtLoGhTaDN2w4bR/GaLPjZIvZIoezWvi9T0+ttQwxDB9w1MrWErhdkLfzY/LTZZ6NUfe0zz/t9eSZW5GVSwSv8acHxlkGNvfLyozaNTTBGv1Fi5Q4aIcKUXxfMxh+I1P8b721H6uAu6KQseZXobey3PvPIRQouNUMrnkKNMWzPuGMUt/2/rwBX7cU+QrdUC+PdMdQf5wApUvKg9eoe9acwRaxtD0W9MzQ6s9YOiuqHQ7dP4nCr0U6+6EFT6M0I2q/YL8f+02jlSXpGtcg08rgWT9n2ODVKyFpf8EKUKjtR/2IDdBluNs9hz4livxHCBJ895swWu6JUwsrhEYhZCAGaCSFzhWjJ3jkBYTOm4wnKWtPhq3DiYN2JNajF+0KxIDvpD5GW2hpts6Kbb4BcMTZtpsw7Uh8Ebfe6wZXg4tAALsbdODftaE8M08uHATECT+wB74PO3Y2skrlxuF1ThgBpRUpFRPy808f4vWvtBhcpqnB/9zgcbeVFFe+oQrUZJHrS50CYi/KkQ9UlOf2F/mHXup+f2Cs1Sw3B5Ryipszs2Ysd2uhc6ljqCg5EIoOZy0+/lSg8/uFzxGy813XsD77yekzE3NSLMDCttSHy2y/unokDTspRVNwb9QM5d70AP/7iFiyKZz44ct9BqrHhiJcgh+bay6w0nUdTPzN3qYJCLnrs63MdRLj34lRMWfp0P97WLVvxMocc5r8Rtdp5Bhxo388OiLyQNvn6E2qiN9mhz1aKYWTHUjAmoHi1PoemVbzFJopeVduhrKJLvD0YnTaKzLLEvw4l1jrWs2ebeWZXkdhZHrA8RA5Flc4Dzxy0W7Fi/8jZ0DoCjbthWqEKo08AiQfkiVLTq+q8CUmMcRUEV6DGhoAthhgCv8l2q/oNK4A6zoVJr2J1YZ1WpZEn/8tDGLKV7bt5eIJFbfKVXfzIXlLUtE+6H6OHnHAYBuh02uwSvq5ir6gXL+L5DHQ2xl8xq/hY4OyzV+BM4ll7mUrwBxvWY3Mg/pQFzXi6iQKj11ry5pGIugIrK5QMTfyDTOrqvtC9n0boZ4iplMGCWH69juw9sL3624muHGPS+neAJ3b/Tbs3UjvxPv3B+HA5X1+UnCkoNMmkfDS6l5Lah02s4PHdTG0VVzoOkGw57vhFssDnGjwEN1yoUfgXlZvDFiF1/DPhiyxax/AxcBJua6EHvBXeo5nC+jHAmtcAhQjiu9QrLSVFLsXZlLIh2bQLNOAinMjuRX9fH9l6MtdaGDv/ymyDyPv5z+eAKZBSajl4IQwKtrzlEm7v29AkiSsJLB4AYia9xkTFD5yyefqF61LqbZfXmW9R2k/yXar0h2y/cmb4xesewKJfV5pwF/kiReM05XgsGGQ9Vyd03EE7d2Lssw4V9mSb7COwX8WCRHC9NJXP6EiLJwbg5NZLXNWuM1+/A3VGfQpnDBzQclk+Tznn1gkP/zouBZp0THbO0KuX9bIJYt3JXuAmu0E8oi2kxOaEKW3eyeXkFBIGY1zwS6GFBl8HHtSYlHHf+Nt4cqg+cf9vfUrf7vWW+Jm3GBC451K7m6Gq68rKWuwtP4/8B8DbL/JOuCr7ANDAAwBzm/j8AO4P37xGSePwznK32+A68HnTWVtaxy4MIBAzPibmu2r3c0o8QANIdI2/Hfqjp9y5/Chesgt4hTXo9nSV8/+pyQEUsesMuAT/JtW8m3IdcQ8JZok3LfNxqg++GL+6DISZVcxA0+iN4ee3T2/KsA8tlA0B1X8tLVUz1TPbsnJ2o4CyTB3mcFyE2xbRe09GzYMjEEp+h/maV/X2UbODdfsixbVppvbACbPhreGhpkMYKo51w5Jv3o+5CbSQvUxiWo8hmKQb4ApLM7cNW2MTSEaM2MO8sHKuQM4OgVzH2Y8torTHlkRFl1W70OHqkMibaDGdfZTMK+AD1D5+YnQPxrNlWpMIWYlHjmnz1p0f1+WRHjsWe+E++uenfQxlrx6pQlHDYrti4ZSfTc4LZoinf13M417fw8lOfJ0Wezb+BAOtCzF/2IQkR2wiFamgdCkLcTZ+U7A5+jFYFlZ0WAs0o3gp/FtxN/4CYDJcip5o262dMyu506zSLuDZ1V/7i11g7YikZzZwmuoWDI3g7Kf5yI3y8UjHqZv8OhTJXBg7zGwj5bDDEaedcHSUzktYx8jNepVgqKtzhzx4QZmW6X4ku3jvOGzqCqW1fSUuEuk5k/Q0Tfw1yceP3DVbQiuoW7pV5ToZXauJxJgLquh7VILT8mBVX/zaxgAZzLMxYR32y2qyo8SPK5YgD8CB3fSdMTTXN8JRQaNQVOTRi8ja60X7ZDmklc3nEYbX/Yp7TOSQCvmyzR/fKQvkMZPOzQ3QYfWM66BmwHIuOih0PJCVoCsGv2ErZw6h/TuptbnhwrSn4yEeSfIJ35g0xC9Y4lXsnULTcR+7AgruVqAeFAwllqoOw3pwgrbkqV5Gq2MtUHtfg2em3UJj5mtUF1rybLYuqjlFz5oiwgj+8iFutzxKWun0WyC8FaIcBCHALH7MWbMr3Y0/CUAD0MBBiBRfEqgKjUDf6J2gQ8Z6lWqlniw1b2z0UFcf99pLMCzKtNK6eQatjDvHTRd79egDgH0WMBqyO1Yxb2i1A6gdsCEZ9ziOdJFY0XeZnDzotpMNfMZTWnbjum1pDu45Z8uNMepNxBJDh5E+l1Ghuh6As2bWfEkp08EEiVt5X1kwlxLb3c1OLpd+zHtyDq8xrAxY8g75WUxlt6imfdXnJsUUxlb0UphsMLo6AG2THJ+rabNi8AE3+5HGEkVHk7qY/4RRnJhJCtmKyfyFKDe9ygc3YwfsPz3luDCn3ABhCyH3IrBylcFC0Jl9GDC3TlKtQ9N+38wejnTV/a+GvbOBbGZufl75r0yLXnNWtVBRq4McDecZ0RA9jC+t6/Os7Ettu8OLuQrt3P0xDdgR31PIDzcSoKKZ/963Q+7VlHNAAsaw8rkCZ3C4KPPMwwtfKZT//KmNoOaVyOEVwEajVgKJQPmQ6aSs6bVwK1ztwjiRDV3SJmntLgDML/79GjMaDhuNQ9jcK1L+9Uc6UX9kUd8HXfXUFNHHJNVT0DefJPtD3yQz3tRh4iMInRaaEoAtRzegE0Xn+HEoqneVxn283LNmyms9Q13kgtm0NyMaFoGTFMRWgCxZhqKqhI3Q0iaXGuTlndYrEF3OgL5YHPrZtsVssUYIUX3IY6MhzCgK3i75vWtEhw4UF8dR9r42F/0SOpoY8bwpxYQ4/UZanlZ28wLS/jnGwKGu9K6S1dbPAZomcNWtZFsuhh+m3CwbuRtAMjaHR7u5McxItZRFLDXT7ehLu+RXHJWomWdMjxcsHcytG89Xj0oflilrv3dNHmuCO+CIAESeC3fLtAikly4FVayq6IkcPz2mLP3I9UdbKSY1R9epqEFBI22sXTywGe95jpxZ1GrPjGikBG9OTg+pfkYDX6XRc2oEsZzfJLcma0xsARPsjA8ivDeIV0XbnDD/oioYEHqmFyh3VRiJVhFdY3OUQUCSLSYyRskuvtK+5XDseztg5GeKWTjGJmy5wA0TFVTrDjoCEq46sygLBGW3PHRxO9hTbIuPNeg8+H5xxzJVnl9X5PLekaosmu+tsl1OVvJ05aJ74ASyMWmE2mtQL30+8soWMGqza/+7USjOFYz0kmH9ztNaIMKbogy36UThgft1JmabyGwI8MEwwPWwDniBvvBlY9zkoDmlCX/hQVasT0JGsVN7zUioW8GWbckpFvaYwm84Po3Z4lns3vJPntWyZ2uWelbxV+q/VTBQP0IbjeVnuWhDt/zXwOoZlsekyTxwydJvi6l3r3vTeK5OK+kxILLldAwcbYojxHcvcS4La7aEXy22Q6G7ApzjRmn5ZDtO4pPftTEByyRndqQai6O7HI3xCshdHGiksRcaepi8rXhFovXfP2nuhe+B2BchIS3SojuD/Agk3CNNBRdKuWYL8p3/+p/AopCH/xNxhJ7xALESY09bv9tihKNwA9v2yCpCzTCmT4ACsShXEv3K4biLqEe+JAIVpCLVrs+l0ZvKaC+4dXwyiOpA0gGbO2Zl8u91WW8HbgO6Dooz79gPTyll3pbE2k/3KjmguIAIvng7RhMbPpiM4y1DRC/G7qyymwhK9cwsqtKPBVKNx5Ag5ZbF2gioqiq11FP3OTJB0XDYlqz0mSkqQ5u9X8Bprrm38SflTBpXyK2fLYGNKBJPEH1bc9m3d/UnIEBb1rMk2X1Bf3IDYDhkxU08QcwiWwJpPiAemR2Ij/McY4tEjwGW3jsd56S7qJ0H/maTZeMSVmrfzj3IemznOOBjzta1EByeQ4FLb4iVgTrq6dd4n9SMpF6bRMkJzezPcJGYAefeZ45cuw6UwNczrgIDKKSHvFI2uYfRn3XwNrvMZb+0XrEBy2VgBbGUHy1T2I0qzThYjJYe4tbai38VzMpUzx9Af8Let476o0S1kw71xJQfaghuiEJsWCg378ahll7WbOh//tpMFEXHaBWsWVY4H2Eoe3OEUoEWOb1lAxP4Liy7lV7NxzjszQm5obep1FWGQOi3AJQ7NVI/7aq1gEJHsMITB/8rJp/Xm1FnyOxHNvxygQLnQJkI6KPuHDtZt9AudlXGeszlcq+dJIiAYq7wgGZUIkQUgBGxsEQWMR+lGj1VUaWdR8TBha64IuxgZ8MmFvqOkWFs9mZoJu1975st+RZUulFqa/g0ll24NdglpJklfkfOhuOd9OUsI1QFHzhq0RU9uN57pE/vEtPeOjWrrAjuzTONc4l2l6zwaM7MtjT2yYbuyjf40rBo1NKt47tVuWTuCvsQPeCJEq2IZfKTc7V8Hw8zV2i45yd8pmYG+J/UKLncFFdTGcjdmV2XmtruolY+ijZe5FHOf8Xy2n0wKUbJ9+ZtuD1ga6bU5GZErOuJtmbsLajQRjLMQJDiQL9VAtIG73ZHsEpTFTbKLPSnNI854K/zPN1sffVoV+CDUAXKCl4vwOQWmijlMuMxeV/UaN/vBof1/HSQ+K0b2VrhGAOHiizafrGMYcDx9mOBM2INGnQR+IgiDJ11kY23KlFCd61/L0bs1yVL35Fl2hddMtr2DsMH0kmHXBN4FdDP/5j8E7MCEav5vNO0Qodhde7TqGbFMO/aypv3SkgoKnn7OfHVdER3yyI01GpJHFoLDNTZsSrgFl5WM9nA7ft2uyaFGFmttVIDtmWSc5EDgHybLm/kOpdPyEQzyMHuR/KzZti0Yi2NNuGVEWYdRywhdwqChkSAVKlh3a9vB0cN2qiDvwvt96XOcMQO2VCxEgjIRlJVdMKSyozlLhbvvERU3tq+1nT31z8bicQXnSCcJCez7gHOFd39S5jC0Lnc2dA1c9E/QRggx0r4iYrDU3O6IV/KwRio03OVyKsay9K3H1d4xTlrkZz55ctBKBCxwVHSUHz/01vzuWdwKgwXWAp12VklF/Mv/T0KZAY7li/b8H3gBue12FNPQw+MEA8/EbmiX2G9f2g9y7JxOj3+kBmYpy8m25CgzH14nKb0nUPaOYQ+Dc9gQ0SNVgn06uFbcjcOKZWRB9mR74dCCD4RYr6pgOMBtU/FOpXY7JqqwzHSTLum41V4rF2CrVqBUYVe1o463VBp/wvXY0bObDqDu5LmKZmK/2qnKjLU9gcVySEl+RENXZ4A3ocUM1krHbSDZnUY9c/5/qm3wPrQJnjyhOOAKvTcvHe0RojeZXR5ZP4mrkjQdjbnh9UNV5Vpzb/HsgYa8V8G5HKKHCIWsOVx62S7NBQg8p6YdVvWs9Hxdkm2yu7hO+esnHQhvMfIy/Xyn/OntPpTYB80g9xkSaJ15ubTLX6woc6KT8IK9ruMpL5Ri/YOUXeMvK+T3pqklMLq6Ia9Qk8RsmpPPZkxu2SFS+X8AzgL2Q3OsSqBNFEnmNUhUbYIWUUFMf+buGHHwst0smeqqqBai2Z9+JfFEvQ+9tDV3sO7qnmx5jGAe2l4gF/7Wt8dLhnngxZfb6tyS2c68uLVuapIJ2oXzTMXZuncMsrqOh9AOjPHnGzOgpoU+k0SPrrpkWgzkWgvYHL0k7tn477HzXQrpdDtulvvfA4DIAV14SYN1vvEQP5Nacw1BMdmgX5S5iXF3TPUNJJVH1st6p4M0gmA2nQ2BeGmHLdx2oUZrq+4T/0zeXInmXMUK1S2uCmvkyszWcC9gNhrq5KkI14pmtUv4T1JB44OXi6mgbep4Aq/F0yiAQbn0S03b2hKUUQmOKGxKIq8W/oEb0NvofvocvIY/KfaCSlg+UETaP2LZzGrJmzP+rtOyOujSCRMCbMI27LpP6FAcz+mWBPnQzgso/cgU4x+nA9t6wSsyzcWeqMcRYrRvPWwGras42DD1F33IB743XExlMXx+ONqDX4gAfcNtIW27pIjyBasqLHnxB6924qhyfhvRYnGyawFzdkv+UIt2eXrKY3mBy+8bbAMznLb7zvW+7GBQaslM3N5XAyg3KQxGazzmfPFzBLISomftBbCkPBrLz8LKADrebNNpzoyDcbi/tZO8C44dt3miCY+J0/yUtgMlPde07k9D5+V7CHIyaFsJJbmxURvJ4NidvYiEXyKgimGMnYWineBXnImJhxFuJzgEYOKXf2lgrsIBlkrtJxMujKI+eDk1SydRQbHHN3oel/Dl7idaOVU4Kgs+wVWFiyKp3yuozhdC8xcL3BqmjlCqHEDZNinJfhDkeVXaJo0bXjUOdBHlDm6HzBEAmLBLWmAIFwocz6RLsVX9Ut4w4TPYaae99iq37iXPAp3FdMPEefXSEVQOu2bJVGP5JLyHziNpZiQYitJ7VenwqC/vnrqENiVbDFaIwlpzRBgN2tDXpgyOFO5CcYLhX3SvMwK9d7x1EVAQEmei/tLpyZohvFJNbcaSEJ0T7kBLFOue/nEdm9NtJ0Cxn29ZYLZpQ8hxXJYo3o+F40Z0xx5fEzlEjwEIF/3igi6JWTbeyP8ZkMkzCfCsQveADIZ8V4omB3Z7c3j4f/Pf39JpERnQOFv8dtmWWER42OBKtzckl5yRkokr3t5eSrj1BdM0ZziMqpwIa+zouqXdSwZaoAFlI7Xf6NTujoEHlpBiRLiytI3SQq8aJ75jF+5lLfpVQWvs8Zfh8N8CfOC7jt+vOYumVZlGRns+VZ8rROD/tWQvqg7+dZxKdL60hd7Lawt1V4l/0k4XaooY4Pf5t71gy3rz9vBFjHKTyV9JpNyReB3+gnDBXx8nLXBtlemH0pAYlwTh7pPaYtPYgdNsEHrlo8sd/dGeQQyOb/fmIsiiNpRTPuMFu3DrEPA214zPM7aTknjz1uTiAdXY0WASuJRHSY8DU1qpZ0ObFWmkeqXdA+vJxQsW0k3Ds6PGNVyy3HsX32IBpXeH0gpA0CCBhK24zc7KPhdvhkgiuqr646FOm96MPv87hlZsDvAscrwp2ohdJwEEcGbtdGPFmloLB6uP3jCpNB/crWshgnabnFoHQbfWVJwXV5t4o0zH/46K35NfsfnvbS5d0Lu8VpLvqY11Apf0FZhd1OCRNlrp9a+abA2djmTQWMJoUhQeEWZOx1xML4x9uQE4Ex50YBLVon8RF2K8jPQd9Fjb5H7s03dHkFsu7AX5X4I81Q/xD68YeOXh4nns1s6NwQmeTUX+wSVwG1oRDYZlC6tOLLcYP+gJgIISq+FLGFPPvu0hc7N7yAPS09xnxM7tHGlkiE/TZ3axZp4OJnPxoS0Cpxg4TNOgnY3LqeUOMyQspX4bWpXuYmipXKjKPGe4FhymmQWv6hWEF7EgdN+nZMcoCXxr8sKraCporlSnkJeb9ElTIoUQ3QHwUjJCxIyeDxPqHlN4Ax47G51Ru6HUYU9+QcvC37dLW8uQ4Bh2AAF0bAwRUNRFODJUSNB/1oCx7Ciy/XA2bQzLkf9MZkBBiChXkULrZ/WjJVPUqJuaqJL7+OhwdPZYUFhQJrSsWcKXPxOtbtEzn6mbI1MzgDMKtddPcS5mIvQukg6Vm843x/Ubvb3UyTFOjlpT7jiJAGSZA4H2hNLyvfGQgVNkX5Efk81u3puvg+HiB4AY3Kq24UrgEWx9htMjbFiMnPZlpOWNJ+9bZHUnd7IrQ9mOKyYDq5wzxvEbn+jm0982vmMKNf/rXVBSVKdO/dOkVJpM80X3jsAi9vunA/zHe4R0NH2bNIak9qVsh19Z9xeO35LrI3lQh4I6g2j8/luHJmsP7YiNl/wFZUQ5rpbaYEGVgIyS/tZYzVOujV1pocPRnvPkZXz9pawdFPlGpSqyLijCGOHX8WSv8wZVgD8P1LNhkbX57CPlipCERThpUp2OoJlr6cosvlTF3uH6YZ4uQr455cefdw/P8hLTNXzQrLXtB7cZwf3urLZRJr0NSY7ue+59dAQGwOPCqSL7M+3RZLEZijdM8cgKZkYB6+OVu6pPaKDBYP7EVuAsLXUqt2dem0DCo4mWLg6GV0PmyTCtXAHEdTReVt1Vqya7ZOoEeFJs7rr0e+KLDGPcCmpUoRThEYs24mvO349uEV6MG+aWsmFS8mno1DYtpZ/znAL9dxplwYioxFy0GiTpPvjLVHNNhrw26zMIC9wCNGaNuonATpDcnUKOmKUOMJOSX9ao9C/W/s68APee9bdtE3/paqENo4k3mF2pqvYF1teJGLx7rF3qR/xmok7A84yISouO6fBgXS+bCkadc0ktDYAFgHtZNoBZL4B8LcRH6g/p3ZHiKAJ79eEaqkIpf+E2RNBwODFSpxhT4hwf0L1j+B97/xQFBB/O9IfcvmpgQdv+YJnlbNGEXnm2+k+czD342cWQIxmKMT9tP+lnJSTZXVZu/1kSinOnKsUOrZv/0XL5I4HGCcj23DtS5uCGYfy9XKprRZHwKSoN7WT2lu1JVPxHvsmW/GlrNaF/13sE73gsVmswtqemz6uvvCAdTqLvxtZxZCzw9lh+Ykpiib78y6zn8GzvqYCATrz2zcaaS9nYQOS+TNnPHPEImto5d2UMG9/yaP4zExw+BkKImf+KinuHKbPVchAUdIK8RzS9d8TT+qsudx/DDqZLzB2T0f/+A34EJmSgVsrTf51ItEWiZZvBvatXQrJsICWrOtowtbB4vH/6zBbIbU3p4uDN7EWhBfmHKaP+xFIcQ1EuoNGrpuMaofFL80BQDFDlbEW0a8Ox9b2+ncnNVk4NeAqynYmLyFaH8q6T8GFPfOkrekESJPjoNawQLfk70CxRm1RIXy6Z4o76T02AtZz/2aT01XKFxzoh/sgqGEh3XHkYrsbkJOlH5gPNBBQWJ42KZTmlQzxPtp5FEMj4DRWjNvoYaUfngG+C5abti5cTYWIAcIghZKMMLNGXw7PviM7IWkwyP2yNgTLSaAcl21nUufWgqS6jqSMPEA6f/NxsIZwmUva4KbB8mQjZt5EaRbSDoah97iok7c5cM9O/USlkPA0JxQZB5N2Cj+4t28XpxT8b86ulWnsu1XkayhEC1RmqJy7z4LnOUrdci8FdksXoNglRxHXkf+OfKXTY7Ea3snzNBLet993d+V6343K661o1F5UVEHsumb0kZOiON80S4NxqWxQHVrfPRf/adMBCFpQn3YjawFAOtdkyqON6G6i0WNy+vdTKoK+Rkw4hX5oplHKhm0J61vCkXP07u90sYsWR4ezSNCUzBXR37VdcCyppulL48x1XpZwJYK4oOwN3zzHVTHriAlRC4c46b1zAp41yM+RvJ0XG7lI7FZcY+7VuffTNPT9/Y14BuQOYetUsflepK2id86uMfo7jjrFSQT2ysuv0WWrF1eIf6zDhQ/FCmuHWkhpwOOEZhjlEpazJV14wBvzN9+ece7uwXOpWEUVhHtPd3VslF/LrhL26L6uganO2Hl+BVQRmJVjkUINaIONjGR0vpXDvdi/riVTxEFePb1Zkx7HZr0dErBhdKUO5MG6SGuS15RqNvCqv9XEHnzBb7E9UiIUjikj9QTygw54PBf+tR9KNsf0g3jzz1psesEGIHpKQH4/F/4PIHe1CIrZnRJVl4JfJZcspyegOBLo6UEKrN2nLegSjGZrgFrXqLLdg7uZPiMhRSYLVl06z9Yy2By7KFZZQ5w+gMlNjz1A5j26jZzOT64/Ug+T3Cz/XYWDNQ4+j/r2pWEMEpBC0ueTKYjHeTt6q8Wa/s3R2Bjkm7whK+FFimbfIh+EmGWJ/Qpek9os4t0w2NDgbLP1mfeeLz+j0kkaEA+gDI4d+swpeCyE+ii2eja79UiAQgtFpI0zgZZBDFVRdH17AiaK0UHp+bULDwTsI+YBDj33oWN+qZph6ho/J"/>
  <p:tag name="MEKKOXMLTAGS" val="1"/>
  <p:tag name="ALREADY-CHECKED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4" val="0"/>
  <p:tag name="MEKKOEXCEL6" val="False"/>
  <p:tag name="MEKKOEXCEL7" val="False"/>
  <p:tag name="MEKKOEXCEL8" val="False"/>
  <p:tag name="MEKKOXML1" val="4HooU0THZk28POP9trq+pbTvvzd/gcV8t56cq85kb3NDTsUhojRA0EsgEHHMH7oYP1SYpn09ysXVivguJdhTvfyVMsBLTGvcX7WPTor/CmWprsQcMwHG1A0zlmK2EkOrzo3YLDlCw/0V5AWs/qpyARc9eZ+OSWoRBchU8IbrYzI2HC/cNuHpYJeL7t0avTCDTgNxnG6SnTsXoYwwgwpla3kzgM1ycFGUKghKcFfqjgvyTYSfoSYX7CQPT4YiXFcJcBNelRRe3cq3yzF+GYRVT7ONSoglej6NyO3O0EdNLNO/DSX/JNxV5H2yZDVd/5Cg+GQzen6cSNqXOv3Pf+Tpoj6S53YI3CFSkuzlcxWET/Ba15j0Xc7qWgKSdnDcR4mrGa1K7UEruUkwBEfmsSXJ0GKOlMYfdiVY89Pkd1tFsX/IRuCZWlBvWAsSdkPjE7uYTcKhU36adT97/rb7PBp2oOo1Wxa8hTAoLQWluifop3Ck+LfPE1WQeJ9h1Xb2Ix/8JO0dE4kyvrDbTiZpNUTpkiBwv4Tp5TW7ivKsYHjGBoD6FzI4s6VIij7p8LZF20YZwaRf9MoZ+2LRPFbDXl1a+pLcDf1mRg8ZHOiBi3vVzO0mouTRHsaY9awjg8z55fra5Cye/faWafY5SdB1aKHGcyA9lMZcZcfeZ1d3bkime3Y5nZsXhjqAJLuB/qhfWatUNMJsga4Dy3foGRahZDAqYAL9skdvVuH7eZEcSigV8bSPz85rz4tLEDLgnF0Arr1+wSMzfSq3l8uKFt/OtEDQTmexj7elifowLsIHdA9dXxUg8I0rogNvDZOAxPxUY2ZiGJlbIP4HHSJvhDw2Si3ha9Z4KGeFPkYfLsoxH3lDVf8GeUafKjWoHWpDlx0/0zVuCURy4YeVhaERQ/TnJGhu5SgDxbcRdJJUyIjWhPageI7eXZZ/i7bDAKB0X3YbLUje0BQsNJRC+tem44SuDHrCCEXWBPkk0D9PBPNR9meYfwkazPzCYFG78pUxrF/f5HSDCFtw0akgsuia2tVSM6JJcgX17GkNxgTqiakOKOKyPdQdAo9U2DYk+Bhgiuo9YKCtR1o0iOhTHUOOl+OSBAzm+DCTEhugmYZbZHyNZ8vogMPlI1Mo8M+RNrkDSTrjFDJO7nFv/iPh+V+P2Sc8z7UEMGHu6FoKSd7be7CxubzCaakEgYFpDNP5lPuljd0/yPvTGHM2CNOY27e1lTSMSKdbU9+bjokfvBD6A5WfWAwp+cXbWszfvQZcy4m6UquoIFOCBEME+IBHF13zRJ6V3UvHdnhTkERRljgmDPyNEcziyNrQnzeWGsM2U25VK0+qW2tVY1xpoownDFeLTEcBenv3PV5mJxLosRImpxuSCJER7q7N0qf4HxVgx075Y2GXeGKHfM3XQDg8ErcomkVVvNUoWMns2FXEO+RMns61ZZ02zOVOoypB8r61reyvnX4+Alq9m5ZjDyN6VHc/T48+fYaE1AX4BtT98aUAq5EqzE0mIrw6AfKqHToA0GDP1tp8WHSO2G5TufN/mDk5RObT26mz2khUNJve36EII/YVIUYNLc8bVFSwrqnAk93uFCAZ0eaDbypgnxLzhJwmzkbiANS4728Mu/FzbveuyIi+7VHML5Zuz4N/8KLxWO4e0QFrhsTad1Dpsxzm63hOGo7QTGfEngnBjxK8vlo8HSyQIlVufhLtj28O1wu3L9IQqMNlhXVlGcxtjo1WtCL/OOd3XjNTD89ffoxHlO9xlBjqlS5PGpafI5XjumoUWd1SyWEt27EktF0O5ElphP0CEpg3ow+uQOEiVIXHRCNjgFVEGXsUX5AIQGaLX32cPH0uUPYBQ59HDsk0Zac+vV0LZrxRqjyxKcVDNvVdjmkWFvj1eAix0xxYQT86o+i9er3zn/aQ2urijUvgXALVnO+XuIPinsHSxnShyRjZ+WAaLN8zTitldfFAqHMi0GwitFadAB8xAfyQ0Fz+Gq+UOgTGral9F2qHkljB84RDVKu9zMe3U1ooZ7F843Xjo9yzCOVo/4pINL4fh2bwQbK14f3nP1g4Vb1DCXBP5EjJtJ8KXzotOWWc0/ujrEckrFWrV3lHvAyU9P16/CpgljC5maGrQA9iNMDMnIRfJUEOwDqE8rl6hpJBOnPbNn8Rcd6T6pu4CUqdQicr9j00WZfw1KIBMH8outRd9ARJL6FuCzF4ngPP18Io/0neSkdAtATt0jTQXVHbauN7kKJFk6ju+d1EWeCeT4P+d0vC92V5YxhpX3lE1ZkQ/1iAb1WLlp9q5IBbpcKcVC4eC5jrxD7PWIUReWL+DReFkgj2j1cIDwQWzWje84jgASd/oBfNVqItnB4tBgSZXXJRiAM3uvDJqEOGeB0hhQFA0YW1azcDZ3Jae33XKPBuBeci9WXRpOXH+gwF8mhHVo8j52CNboKVHcIWbeg68K6gz28CNgCEVFKWuIyjpNBTNvVgLBd6ZRXmJkZw0pTB9IomnW0YRu+Ax3oE1uGPSaLk9YYX7sY8hYcmL107AEOkk8fmEqGPm3zqCwMzlAHhEa5vKrPhg46KXeu/G3avOF16svxdr5Twooj4/MXYP7OHOrb/uREypswCZYdNW/BvCQTnWkYUBnZfTqqVif/ArDVEFXK6Aol3Q2fOlzrQwG8Vq8t99sTAX+RwxcxrELf4YASrpWVi56hUSmRLoHkdTAaJPHIqbSjOUc4vgAlEY1BwSS/UONMV8Lo3LCAtn0XRL0FlXSSL9W6nAToqnO39eHXVPnmjXTW4kynZ5q1JAsiQlbciUCLKxw3+1d+LoOwFLqek4CpRkpsBqF1vFwRHT7kf6AUCSQg4cyR+01xVystxj9XFll1qhwgPFCfxDFrvrPJH7l23Gig8SQZxK+W2i39PJlNO4jb/H7dnOQ+P6LFINdBNcHjs7M7ERaHS1+l69GUjUqOHbKltbdtrJKIKoNgAecp/+QSu4DediaL7MaW9Xcbj0E9Fl9jTWE4pwCvYOrPs+zZWI/9IW5svSFnT4kM3YucxSVyJfy8+UFw4WiQhi5d9Au5oPhllbi4kwkXoBIuQracKCjm7ZoSJVrHlWJuDt6m1+TRwBtx6j7UYmWEDSDnu9G2kdIuFetEY3w+FhNzhpU4dCKsQrlzPpL6WqEzLXa3tk/fHsgPzo8czef/tNIR7FFhZXDuKzK5Cmxnod7pVQlTV+3a9tpL8tKBuhxTEOo61UocnHEFOMDTX6NGKJ4U38zDKWRKaYi681EHC65TZJzsVCqE7k1fNLurih89x3pSN1C1kbmBHox1iLQkIUtIuugCoHTDTNXEu7yhN+8NcYQOuw0vo3XbD0JKvkC3Ixe0hT7s9liDgSrLFM3HK2Xy59mO1kZ/bLrKzZmbCscvI4nNT2IReHXx7ssTncHYCQZ1TIoO7mXqxNVVj9Kda+MGcEZ+p1jrApbXD07O23q+dJqhyGeYO+M9Mni7SmCKIgEIkV0YN/xJ++HmOMfIyLM/lqNJBYTTaiM+SF+25NgFp+thudkXf7Mrm/Z+hEJYHPQaEhFaT4psU+F+jnDhhCS2uQQmORgdtHb3RTtkcbAK/3Uq6nlHxKibm1McymT/AVDGKy70zvD0ZXt4F84hzvUvmR5XpHKZWRyCsVz0y0koxS2xDjewNjqCr2nLFXr8oUeyyOU4e5ARqUBxZqeJUiEKpHaaULuYsZ/QGrd4zqzuk0l3DvH33lXuE+Ij66FErwmx1GTSHW+bI2HAfsm1MG79006XI3n/i7LZTvD1+0YeuyrxSgZKvpqJjwj/kcNidGGk+ohWdo4WywKeLAV2njD5cFHGO1W0OdHG2rKfcxcdLYeFIQE2nO0lSc+Xb4feDBEHEaOcmkHy1yJwvuohMRjl19RZJJiMk6+siwa8b4pGAo7L04iZCuPY/M2O6i1qLjzl4FOw/P4jSJavNvlE9QkHvYQoyA2EDG8HGck6QaGddF02qtRLlMoxQfzlcb/iOziIDKWNXcn9bUdFGv2nC8ZdCmh7s72XzelzS5lxypyJRAIczfz6oLuXGqL/K62TSYIBpgZyKkPJGqiW7hdkvqMT303aPal9RQ+0ftWO4m+NTmmr0e43FwsRWGlRFev+U4u6MUNKv4+Xti6qTwutZrKJG+TqG3251IjRYhGSHUrrcu3zfDQ1Svo4jYF/gfFMHYsfDpPDckI2fX29uelM6vDXCxgBuNduxjCclzU0vLumDtooEZALs1GRc0P0yEEvBD0GiiuBYMniCsOpXUwpgnToiNMU6fxDriU2WbqsvAM3JhIlQLWHKMf68OVOLYRAqOnFHYBgWzMultCx/TmZXVaW3n0oRGU9HPuAfGURICuapukYzObgGnkzxG5FchYipEQeRxlr9rlwL707i8YnLHv2SxHvBtT9WXFnMfRYgIhdVmbPRlIbc/y6ja9loarozXM3zlmO72m11UoHgzipV+xl2H3v2pMjJuxjg+I1XbgVfRj1Ik3sdWlA+lH1KIFrT1Dc+H1MtaMNyLyZfpQOLFwk0bNFHjDxQeQxxdGOxl8isw7BRxXTV435lfwx7vWmnbrQ3Ud8uIJqYrEIGx5Uhl4MbIC57p7mmZS91VfIs9KePI9Lq9xmAqoELQC6fB47MKibUd7zs5M8fOumjth1+jgpQ3kHJmSs4yKBYPgwtIipFgyNbsBdHGMo+Cmdd243s3m25eXK4xqQXRWyET9NPcW0RvPgMUzGj/2sfNvMXZa9JJsjL1DO8jiVWtgmK3uSm4HODa85573SAyR9Fij3vW7ew0PODMrqOIaUQq2OTvUdmcNqVJ5mPSEpr5zkUGpZaC9paA4PsNE5r13gsVb10aP2MhvjHsOn7Q/a/oJ9pyHouqj998jFJ8x+8ixbv0VAbccWEjlC19xxBaNdd3wsdfgd1XOwUJcovZ9VhD13a74iXJtSy8kbGtAC1XzUE/xzW1qx+aobyYbH/ws7yE9mHYcFBYD+E0hS0m7o0nWQYWGSnCTuxKWzgLDHoHuhIRRMhGQRXMOWfttOkjtz8N0dupdtrYrM2rq+qWF6fMqz+p9bwu3ZflGw/z6PTLxU/h0uq5MPuaHWjFsNs9FiCClcavYdrZ3Z4FwiigpfGrVOdgIH8R+Qmp+UjYnfiUc6viZ7WQfG1PTITqpaLfHiLe2Um2bVwsnu3cHTznITLjf/qhikVrGqqTXMr/q0TuYpub9xo+r3ZPHZrsQd30JxK6D12R4YtFwEiNU8UjCExcAVimmeOwI81Z/GU/ygM+QZ08DX6hrF8dThaDqcKCnBzJ/uKh7oCGfi+efTYIWMlxjTxcwj2h0Az6eaBW5Ixx2/Ob7/z0goS5mIJkI9GFyh6BCYFIhlCKSLpSVEbA/G14h+WdU+8g9xt21aBdfycpztl2/I/KbvPaKPzTPfnGuiecC8MkHyBNKNJ5YWs8vkuRVhAq8PJFCuq/Bp07OK/nz+yx02Y2Hj9X2dLvoojOAKcNPwCcCerllWmba3AgWpjluR+Rwzser4M74RrN0zcTfxo5JPMEAGrw/6jWaRQPe6T5lFyscGrdW3KXasYkQlt4Xs9H+CyHAEAiCPk7uzb6SVd63GnwhDTLH2VvNQYjgLRUqVO3u2olmvs03YKKCfuiUUV78JwNh+tMDPxbIGfbA/+pZyl8n3wywpTG5Z30jxJUKEqe6ctAR+I0KLqCU4+R6UTLTX6J3QAc7pQrAg35sWTcm3fdamDLmmKJhWDpkbVv1pNJiEOw3i8b++FcOwKx2M+YjaS5sOPOIMgcmCrhpTotS6ESxQm9uA3kgaM1frFrNDur/2J1D9zR6oEY+lkbQbDMme2oAN2zQg8niqJNQdq0qmYLLWBKZ2SvYKrwuICvkT/vu0TFWqn/Cud4z9t/MTUDdcArxDtm06an+nTBqvEPSLbHTNN4jKbxaFYorCz8LLM7YZ5BJCZdf4Wn9Jnqyr6Ge0AvCG53BXEtN5KMPcsWXAFJg7rlUd9cH01yWpMxVG9Qp0J0shESGp11pN3I+e7fIquug891cuCFx4jthNxPWR25dhd5PeWAhTndqCyxNxU5YldKIBJ2YGrxKrUb6j4wS36vtwzluXXqZvfE3xSf4D+VaDsR+LOYA0SL549B00i3dHjtgidHTP2ShD7nQGDveIrC9cq7ebp2X2WHeylKSJWWpBQd19ixluswfkbiO4NQKUcsh+ygxk09LxvXAX/GdfCmtvbji7d9H66BgnvETAysx5PE+B04eFG0SYnL5apDNBTCAMBxPUeRoeyWiQ/ndIunKV6krFLBeKxrY+s9ltWLTV5ALe1QV4q8a8Sy0HICsZqLI/BMA6Ih1GuWDH0HYNIonpJDJPNG86KGy23Tk86siABvFzJxE9rDeqrFOhaBwextJkXXGRCQ+B6reMhed9ba+YhWp6+qvi/wBjwxyKBFUcADafl22bbWHXeh+Q4tbYBF+UH35YSSXcPR3NFoK5DQt9U2hMmAJocav9/voePpucKmOcg/t121fpuhkwdxohIYmgblb/BGoB5bo8C9p+I22aLt7XO6+Im0rylDKRHUsR5+QFq9WFc35hfVcoA//WitXWcx3JgMgv3kZ2Xe5oAkx93DSliCJAFm8ZzX1R71FNQledxkyrodzIsOlJrYoOiNSjiklUj4Trk1QqqeU1NBmCMNzCROqqauGjEw/60m5O5iRYQ4Azi7QdACxFtA/yoUtleim5o+xsU9/9wlgytObCVSFXdeIZdjDkMhoqBSQVWvkkg44xWsglkQzwW/kOddzATIE3RfrUKKrexeSVNlmRVn35BtAn+AZPKm9SHNMQ8SWl5zqD3pXpMkBedBn1K+Tq0Yxq3GdLBb4HBWXOY0K2o2P1iiYNYtPtsqkWHX1ZSFuTiGCsFhgo0TsyPGTGEgg8lvU/JIsyHnzEvvpGCuY32FSSLVuOBBYRUluSXLGa/feI5XH2LC2EamGpFqa9dffmLfNwZ08Losg5lQOr81coCh+PmBQyBK4l5+q1PZ7mytqyms0nsoCB9abzW0622G5K7wpmjsUkF9+n3Z0AYkAWKIPwcjIAw4/GIi5KjgUqJKzAJqHbovU8hi5CcW6oHsv+EBvjg1aPlwwe3MyB/ZnO34Tpvnwck6z1AcUXHLQOgSFIWQxTeMMnrDz2TNLjUHB09dnr0aKXLyid4f8vSx7BlDC/QncBlFMbqn1wLKUr+BOGz5d7fpN4RPtpjsOOwKCySzMccvUWZ9xAo++n55uOLZGWKNzijILY2ULKc9YIMrG/2DQ71ehmpdWOx9IXlHU8JObMEpjqgs+rxUgb66EoUtjFN4blEQ0qp+if42bjTRknpUtzW26lwrbTWt//u0DmSh4M3eu4GCLH0QpHQ79OCg1fxBBDvQHtR1wsG+GhgpwQ0YdwEPAWs+rnVnghslxG10dZHwkBE5hm0Ega/aGqJ9sf7OlvF690o494xkKAqwaUpbnqE5yzpQdcxsScqvoOzdgdL7IL9SoA/oq/DLVPIRVknVggDSleojK4Nuz/Nsjag8KSYhg+N035FlUfwUe1F+phGp1kqQz6MvmhaTxiYmXlPovQb9aC5OgsdfBopGO7rdHx5cksLtiAUoHt01SDRiX7UNHG5+pAwUPb61qqTHP5NpcCDIB8ooHiJC/rjg0TJnniRu/qYKftyA4U8q6pKrbSKRWjWEWvzncpPyLR1ijd5Nuk42EjwpAVn2Mxzv20fhfvjG51Dim+GaJXdedC3tYje+Ok9GzVA2kwB/iFWZn5jnZuO4fo/IRtIhArLA++hAd4HNQrVjkrPvNkYodP1b9UV/Lv5uCKw80A1NcvXspAAo7k9T7c1NbixnrvsGnFc+4zLr5E487Oy2o6OalD0pTq6E+zKdng5KFMEyGpj7sffmDnG291P+s1aQ3aWbJR7TV0EXf6v7fRmURdbxKC9HpWiXaytWex2SO46Zq54MHorGSIEwqf0/LpkHxykCmD1PWoXey7qqjeyDDv4ab7Xqn/dOKPZXnwN4GNOV8Q0a9ZhN/yiXBMtAX4t3Uf+xb2eH/U4b8WJ9LHolguR8G+0TW7X1bNXD5oV3nR78bwS1GRFh7idohiYvu5xpRIWOXdaL3KrUObZQo0O6nhAVAjq1zM1oDS82txZ0JobeCCMbe5kZtOvMdnuDBZN9pUI1J2pcTHoIB4OiKBzs2JnnmroDoOVza9jV8jJu21/ttt/q6wTdHoEwWw9iqgebP05LspSYV57VsU72Eu4o8lHi/9qktK+cuBejBpI8maUU8qslojpVn31irC8J5+eu3tmDDlA4LIxRLDVqy2EFZZaZaBfCKV/eBXWpZdnjeVTYAeYoQt5wWINbOfg+htpuq9my2HCQ8XSFoIYH+wFIt+CMX4QPQsUZV7c5OPo+Cs1L4LrOaYt18pIYaJZj3Hy/Ntjqk5kdcNYRQnLPAkYmHAK7vc6FCBg9W1OPYAjJLW2Zq8nsmdyOu7FNRLbQj53BL2dlcns83rLxHwsTkYyB8PbgXQ8IWF3Mum+0ObYwHjQ/0GC1t591SJjosba/A9bLF1sH7gNHqyJkefNyk9C5xbcS3xzGOqulGEggLCnknoWucpnoVlB7+CSt2e639D9qGa3RBtITAH18wemNAvUyk2g2K3kl+DtcYaL6tuwac9AspBzo5UlHO9UtIVEpqnhQ3Lh7B1+TtSJt/aiMfGVJqGiwfb9K0oKArL2RLxfo4XYskA3N06/oAIoow4H6cdmj40/6WznQ09wXehPba2wxyLKHj488mfNgd6+7fksHS/jY9KWYpzvF+LvwLC3rW/upiNjcryMMLMYD/C28L8kjK+00QCb1cIqxkAEO0+0lQ8taQZM7/fzwHhZL4V0xaazQv0xIxW4ZEZO/O32HuubVpznSEdrF6E+f5Vf0qWjiaSRFA7eShO50swY2O/dSD5tcxw+LUaz7G97k0ediCVBK5jAJcqdY2HwS9uiEby7QDZNxK/jJ1IMeEGvTFgl+AE4qvLsxNEg9VG3jbYJWwf4KMNrFk2n/LrFz8x0scAUov099AXTuh7wXm7BMhbtCJlYWtSClgE3VAIJllFUpPvHvTl9W3IiDqWPM41Rw+c002xKY93zRHZ7wbxgyGs79yCA2HzifNVWR6N5IOU4HOA6MitbpoxPWxw6DE1oBeLrDUGipxF0XkItq5BR0/QGlUb8+wmuMfziZ7Ud8dbT686uaull6L5nHLuXEsfHzxseKqEGKaQrZRTspmnhxpOtqT6KQ9TsZcA8uKancoPIs7guKoixWLIEuIxec5s/ZuVpsh42TwPVBAtB7VpuGfNWlMfM/lnQ1BZ8v9lGoLMKnAKfbs7gRhs0Y4KYcHYwbqjAZ/Hjb4CSFrHRR/q7iKdwZ72Gy2Tx24PQ1+xvuYj4jrNDsos2SSLyhiaYe26WEQhRO/RYcr+lMeUHqaho0J7VKkXitS/+TQTZGZGa7CkIcY8L2cjx63TEIiU6M5+euz68OWzmiwnZRXzGfP9F6fC0njXjRh8dlFerTh4lQIRfvGfbWDzlJu+PxRiNUi0IfGVpaSHnNwanaLLj3Tanu1P4suoyUGooeH7E5/8fr8dPz4gRvPOojv1jUnDdZBQGoMu3uJqqccZDfstGoASrnoLJOuMcEcn3LavDRQuwxcl/d5ZfFfDc52X1yW4A7ZG0lhdT0d7fVjSJ1xUXKBx/FK1Ef7w7m7YYnxtzfHEqc2/gUuCZPwi36kJu/NNOpjCxt6kr51iScDUeq0+wWUM4wuBDQe6AYjg9Qc30WNBU4gPGQocdnDmm1hioqLW+59LSX51xxbTOBvjc7N0PUX1QBBM1osz0RpoqDi8rY/MedlapYqhfu4zr23/XiViIhwESOUl5RYN0X/JmcQGPRvfYvwvn4mu/RMpdsFCzEKW+Ee17Crt4IzytwbsScMyMO2JMgjry1OhxdyIkKgPKaJ5YC4LH+NdzrJpOAcf/0w7mJHv2MjMNu260AxHPDswjLp4gH/fhrTM18tmr7BxqyHBnG3Kbu+t1dJ1RRZzR7Ey88kFtRKaJ3hsV+kmLzrm5dLxTYnAabVIMzOws7REEJVaOffD4/LGisFMkzR9DW/+8mNBTcUuGL6uBl/IHpcnbSNrozNNp8ihL0O6oQdX4FDpW9JJY+soW6CMx+y2TkPFaEQh7NJa/EeJ9D45a8wS35po7+Gq99aUp6SG8EkGWDQIHDzDoq75iuNTNG3RCCz6LQrDDAWSDPEyMAcsMWATflWyIiiddDb7+Yr1340fBPblrhsDqtqau1ieA7rn2blPu03ltvPknMzqldA8oZpZ6a0nxQ6Z625Z0vh2mir/JvjoPQsa7RSqAIPZNsdr6b02AAjQTQkPtiYhf5/gK8l2tB0cRWCAYcKsJ3ZGFMLM3Ky3zu45FfGg4G2WF8nHcQ21xOq8XilcfxXOyNazBYWGkmiKR0WqniPKQ87kuNnFnVIZhbWHTqJ4PQgqImRRoS3MX00/1XOZkf5tDj2R+aUTuBH2qQTLXxvymtdH99/ZyprgIDY2AyPxVVuVnjiJLnPuHkTX0LzfQciJSXUt5J2g2HhYOa/0uxNDdKcgFW5k/v3ti8QCxNuiaABPz4vWuy1o8CmGainm/Dw6Wj/zYRW4vRms7cXmxlPXprDfm4hwENavny3taPdecbmu5CjwwHu4ke5MD5SBEkKjCucZnynNS9Ir1lr/FxofKmBXWrPdFHStgg8L+SE9xjOjH567tcjQ2fgKH9dun5GAs7aIgvYmorkQppJPHc+25Pr1+9yvX8WIm/slywZEzgt7kC6TZn98T1tX5WubGNRH/AZAgDuZerAZVgdQMPPEUxNK+l1QXwunoP3XXu0ter+tE9UTvDwNOtpw8O+teS3yTyLuINsMrltjFV4tH8HIT2GtSVDzq+SL/0jf685pnkSZAc7zg7p6MUZA2SRU98ySUCcSNECz+qkYJ19Gh3ABGETnkeA2liLc+4TVavJP85Ugvtf+bO8iIudRk3MgKxIstqLR4BFoqGN2b2FT5RPlZd7FhnIZOinSLmPHeMuGOCscN13ykuNdP7BmTN0IxWJhT+wGQS32oMYVRXQVNzxkGnnfOvAEiyB6dav5imJvr12k7Y6hF0IAGFs0Fq2o/2BaI9sbXbQHuJGvMfOuxMtIo1E4Hy6kLH0SPfFB6oReqKUEOjlJHGD689w2Rd5FqRwD2xKBX3uAr/fmRilRUzuhbBiCuinV0iQQ/8BY+sKPwx3KSxweWFX8pCn7Rl+v4KeLORF+4hU3KrNqqn5jqkLM2SusjxJO6fc6Sp9+xxYif6XbdCk0lj+R2lzco/Y4I/s9MCcCtMik2kvrDkito+/nHKy0aMd0ugzLjPOi7hRgCy7aL7tCa9J4+gIxhMThR/s+dDqI14O4twmSLN++/CJY6NIbZdOxg7UIQ2ruBwYMAGXYR1xM0CtsVlm8n6tSFElO383vjnP1WR+EnhGv3RNwY893WoPKwk5FpyYkuip19gb7oB2A357QP8Nn9hA0649RmV+X38nNaJ0+iAl6N2xS0gjmnUTmuiEBet+QP2mmhBc+8SAV3qz6FK/1qxCb9Be3dvBurUg7QMfOuu3ckwTKQMk08NSQfJ/V9t//OMEPaMehJRl3Gqvhf6EFZPmGlZ53zAU92dZXdXC6FCubLagmHPHUrHhfsgcNBr4JvfBQ8z3iEJGjcrAVIOJPJ29WzuPWz/1cy8e5ijyfEwlZ3eDNA5xWr0kWqzVdEzAgvaOigzbWvVkaqYmSuoVcgNxOU4TAotx6yFMYcP5Z7fDnVa5x7XPiKnFt5/aBR9LVBIDiQjIambEFyWbfl2qyaZlXNxwPb2I45dIV1LyPKy9mNOc6E6Jc3+rWpnq/WQNiMm4lx4QOLAbPlHThijcZ/FlkyxWgFH1iSYWZ8Ed5Qk1OO4+DRv0zOmMz2Yk4CuORGpEGeJ3ZNGfqpKvD9Dp5GKWLXNgbILZYQXjtNt+FPIU/GUZucJHhgzVu5lTQZZJUyrR+9N68Aye0JWnTeUtbCESuPqbKjDy1jDjYscDoJMt1XyBM0sDq1Kh2plj97esC/c40ql8uBDx5CJd16qN4mzY4Mqz1YctHRLwVXgrm/WVnyrE1JYZ646KoLFNRUx3PEivodV/+1zWBNfWwwAaoU+ixG52AGJHpg8hdssfhMzT5hcRz21pYsttMkktBiLIfCAA377buxN2WxriZLxuCUgNKYoU9ZnsE9+ehVzsm+G6A37fwNWF25KpoDSNWqgRxt+l2KbOlNjnAg8DBsUKCoI2FOXgU031aGYDmWw7KgYq2fWNs+ZOZ/v46ol2HW8YZtHezmh8ai26xSsA4TGEtPli6FBr57HU5y0qXKPe3swxbFSBMeFHrt3EVi3orJD+wxOkTE3FF5NojQbrZ697duIEUzQKn7R8U3RrUTKSo2ZpJdtUwaPXDsZGtSlQZ5rfBuX4zKFVGTt5loGfDU0mXtTGdxmCtz6tOTW8sKwfjmK+jbWqY6EeXPhOMOvtK7rGZ9ZWNWsf03Qoih7ROaTBkinRtDe7joRjVWrHuf6/IGbXjFRldG89rxt4KC6xHCd+XAJ4cPsENIBpdVOuZZWzXK2fFDrpxRcBT0jPOWch7jSfZ4h8ABm4ptIxllhk+DoE+c+9JkJznqAs61RutXK+wagIxhnDkCpx/1vOeRJmtu0K6cDHNaZZS8q6Fx7iEje2t/geGs7/OJD+OyoJ2hdqPFjXw7CBjQrugdKyhaBTUQaXcZsncCj4/po161+oH33kWhKlLnIiajGAEpmQFQUU5gnbs0UusCkKI9S2HZGgP3WtoOdlqo4mjvaabCgCgYk6dyNhB0c8oTxdrkKFOPO+l3mIzNHuZ7s/JjCjxmoC69Lb/ZQmpXiXW8mid1qIlZdG1rDjJgRqNnwok7WKiMIzsk92J9PhCEmFlEotdCMST7uiOiQHvIqk41wjuv2bT0sYGvNYPhWVipLSW4YrIaevfDIjDmSCf6JEf94leDw+nsqf3VU/FTfu3WRfrrcTbX86RIQo4/Gl1d84xNKudi4dPh+McXOXXyGoPCotcpGXV8iCZdvj2MtdfCSvsacj6tHzQ0hVUisiCLOPrzfEpQ7pe7trtaRkG2+rAe0jtg/gA9zqSXui4K2z5z8761MQ81Ph2nDAM+WUiIeaGtZ+XkRPHGatxSWiWDbWSy0FWvMhTF2uVQ86z5bW9NFBkXdhFMWi5J34TBB6wiId5XzpU6ZBJKkszMFk1HM3Uhn0yl78Cv2seTnKtwrsrj21W1b4q0KxIsswSRGgXPbCCnwBShh7JE5IUT4gLWgnZcDGNwYgwDIxuyZ1hbiilC0cZL0HS/bAJgZGNHp6n9bTtqR73Ayi3aSQsln2sE9woWhFUzCHD9GkFIlXDlaCO3wPAE10DNmfcJa7HRhNkk3kpuVrqItkYn9WbIZ4g6qKTbHmAlSA8dHlSREJG0htLtLmQGhxXvQHIDFGzQgTzYWrfPpwWpuj+h0aIKtY9plSsmN6fYUvEsw5AicOR3mKCNnDQ7CVkrH4liVa0LAMEnCUwIMexsOvWNJDxxmeTCDeuEZwhbFFATCf4JcE6/aAhKtnkqP1ZOjEJSoywPF3j88KZbViVO/SJ1Nvd+B1whaxYsZxFKEn6LixhH8ddWZ2fo+xIwVNZDV8GhA9vjAVDCeePsK+A+vDIAPXxMPTbCnAQPvWENx+40fcm27mDUCi4q+TBOyfBFfG5FmK4HpjgZEbMnLD5SNF+s1oZ2sCv/AMVmGqR2gv9HxfTAQ5uwzkLSCBwrFTM2vKysP9p3hcWCDsnJ50dGbyTYlnRub+fuAR0l7BwUjgY43Bnc3eo2ljKMgg31e0anMuiKzqtnwk+1WFhZj1YEE4tByDvuV7MTvVye4QCFf6PrnxTpANYsHx8kt9YVLghL6Y5pKbUb9NGDOCD9jYk93Ohez/KVe21wktGqL71bBwGyb8VCo32J0FDnCeTADX0B7I+q8BBV0Vzf8oAilRxNJDWm41QQmI87rD8b4WQCUZGJdzfPwfUx77aMsSlNotfiFLDeqB2NhP2ZYmpZSsVjQkOmZSduhwVaPtynFEsGruRgLwNMnVlXAGLjsTRG9OEJixQXJ2imnZxY0usEyOye+Y728ShM6d7yFU1IcABMBFFaAEOJDsX1+Y+zGcMFGYsWGtBc9zqUJBcE7ojyihv5q3/3uNhmr8HigWez3C3A3o9lYyBNb4cfjH+96P6GLBudPTv2Vw/XPGy/WcWettRXPbBdbr+4+FcSmcnHykz8cPquiTxqeynEqQVtjE55Pr/ltn9W1GmzcB1XlgN/c1pN1Uoswq17Z0a7UayYwbjGm7IwGBirenu62uPQQVYQo5RY6nLbBNMC6+ZF8+di3nJN0LYWv5JhfJXdVHJbC3uGjTH/ikrTdKCKfmeUiRdaAnSBMQszn5CDLqRwDeWhKxLKGFCOKPfILoW3DEVOfyGcWw5F7Sf+ZiwObOiEe9UPhGZNHPl0shouoeRByVmRk0wv97SDo3bqodBPVEJPKqRUHhX7jlgEqxJVzM5ySMhfjqiFN7dUAJbhEZV0cWKBRfv0VFNnrlao9AjuRR+FpBk2eoYrByOnme2g0kR+oeE0K+JFFaFHZNCY5g3ppiQ+O0beC7zMBXMKDjxFAJh7ks7uK2zMAwPSHroJy9Sdix8XApHN2QNfG2LSJlcqUKUpsja/a/Nna44I6VTcRJ6gmzDt8hSr3IjwT6y05yWcTYB8+rxW+HE9dai87Ouqa3c1ET/BjkQQSnMEM/YaLWjG/9ButxteyCTPJNuKKvDXljbTcud923h5bAZdnGd8ZA5hRR0l/BbocCYlejWZTU4I69bJElKtQvj166kOETGGUw39WyYQgCxuL2t67GCVIlmiVBuzB6dDwMj9gV5UPz6uMPCRN//QGLs57sEP+18scQC9uhVoe7Ce8cAqI9nzYJFdl/nX6wllVZM0c56wvtTJR/0SqJtPx0ubgmi6mdWrIMpFghM14B3IPBQ8U7ajkxcs10U6Eb6/Yc1uEP1bejpyAQ5XV6uXXm5y967Oxb2Dtg/ocz4KPWWzL6AEsESxynD1FC7i0SpSHqxrycCwBAP9VeBXxMZXWr+TapbJ6I1vckQQpz6hqFAn5+34lvlLepjj8Brb3P2SQ0J/RA0ER6mfN7DRGLjTFTqZFHqsU9xkPdWCs8MQT6vDQ4/NhWnL2+5gK1s67VdlGiva9uGrT6nDk5/FU7tMJ4qLCcKDVGF/8+0B4FPaLjlh4FSO5w/w6GNHIuTCJFfhcdR/Ql31SJ+H6VAkhksm4dPStb57G2yvGS3PUGuqpk6H5jSyNdEDkF3lD//I1sdHf366ftAHDBIJCawXLcrWllIUY4a74bqjJvXlM2SoigspFk5X/ic1BDHt42GovvFXe43YKLFTKm1bW0JM3vyqghb4RdlN2frhERAofUHyb8GlKzgzhlrAd/lf7tE4BjxeDabJhVwnrCFLkLg721FgZqJMJpDVKR4BWqpTkUzR6wQCFb5DS4KNMSRABYuXHQKUMHdS3381OfcexCPUBS6ir2dzlvaNFIpaWA57nvGFKsC20L4in+Ik9NTjGNcLhV0udOd6oxXNUuHSQZw9cm48+SNkR3XmIcUxn0K1rlLg9VrWtu7f9XBtb58aROKq+Jzm751itNvIgnCaFtRbImU6RdfrVKJ2EStHIej/q2NLT3yfEc5cuaKL6oU2cRh9sE1UpgCqXmxvvKmTAIITfU9GI0k2f7Ichd89F4anU4e1R027K2Hs1w8eqzIS1BOnQrMRIUTHmHHrPqQk3l/R742/YTDtZfQP6E76zVXRjLFo8X3tf8lLLxnzgEOFWe0nSREMUuEHs4lJeVkODGLtjybIO6xbimZFnc6vwdgo/8DZYY7AgChqLCTIQvFh7W4P0xvphwZHgTWJuI5e0yPwz38eh1mI42yaxUTL/OKoRgtM6i/CHHb7NBGYodljm7VCz7osRptmWrgqsNyZk00h4Cr+CdxoTEH2OvZCBwnGV9NpwjxbA4Azcz9pvgU9g9xdbWfj3K98fRAlW2ez2eInu+LmbpcBCjM/IA7DDDw0Dz5Ygj5eXp+WRahQNjx0qU957fgZ9MaEPIFeGVkeEXsDmQhPnE8S7cIplIgN02CkCoD1wY2xDdMVSS9Dga3HZ472fOdNJhiInyo+iY01jKZtRV0utmNIepNk36uoymZl2W+obwuOVp1SesMbTFQ2UVtaoCdQEziqtUKYWBcxFN0K4XbnFeyrkCSdpPIthzT3cyClDaWnX/DaxM0cWs00LsEwu/0Djl7D2waV62Ir2Tgw5XS6yv7brlEl8DgEs72WPwZDGM0o5bwqL97Zae4Vh/LMB5B7N/KC2GAoZwfHHvrjehFP9y5dGiyP8EjBlWpmmw4eq1tJPVPrOoG/Tk+yQVXjkem0zRmEN7kkU6JtBpyrvCe0GhmJRsf3uY2G97R3LdYY6/wVT1ls5QNzibAxqmCNd+RyQILUAnZU7L2O77z5Km5WPopYxtOGX9yIOpMi+DBRuAWjosQpYc8+v82AEefJ+7EQYCJM7QYaj7pRAMt5ZHAJk5YfnM5YLeKNPeuC9nyWeX9mstqSGJnQ2TVHyfTjYY/hkSEjJelLcHMc95tWz0GOEJ3a8i0WIR0pr/Rez43oSMv2Ie3TZckXePPWDcrrrSwHPKZcDz3U66bsxf4CqVgUZBqGVRGOOrl9H/lA6DXXlnXoiJy7nPVCpDkSPbT/eJ2Uubth+3ngODBw5hhMkq/VoIu+axZIXEpxqw+D6x5VFY+mAbrd2OA9/5wJzpgsbB8bo5hkhuJj8K6bnRj3xe0d8LbbIEFYPIodYowjW3HyHqN/uuAmrQGqF1wujFJ4ZqRYdRb5xtEfD0TM7BVwwA/X9PTeh7mcIXoFTU6eFJWhKQTBRRQczs59K5cUWo4btnjrkdEu8UhciSdTK7+BatRnKvUHZ1dhxf7pLgC+WKAvjxwjtE2TaI06VY6gZIFXS1bJpSII84xIrzExhvZf6ctieMyd7Sh5FcpKa/a4o4lIyitQRLWmPSMuSNC6Ng5zIaSl1vS0v/WsjwPHFwVjVCXwelhcd+SRmc3xPghqH65qObF1UthaZGTVMZEGRUcW06fsQPuQGNFAXAV9FoFUfrC01CE4JMC478WQ3wNlIWuDs3/EWuv7vud9mrvdGm+Tt2CZO1aB2FLV8ToCC+9f14hO33t0hb8YjTH1S0/4xBAMpPbuHjN3e9KzQhdEv1Wxklq6rUzrszWiQEz2A5ozebCGv1roBrwdzdDuVpUOqdbc6h3PYmnCJvd3Vb2VIXg87IftgrCTz4LcvRGeTnbAFYfSxhiy3eSDkM5w5WoTVuoeA9+xRmMlKYgCrUN7je192CnihKHzg94ZFTpxhdbPwUNDPIR6w4SwjrzldQGOu9ardyBtnNhkC6fo39pUTN4c3k4nl8Ta1x1LQ6zdaTGXG4/xjc5S1VcnhWZQGqcqWFC4VDYtyvyx5kytQlwm0DiVso/vUqRkuVCJKRXVm27E22HeYdzemP1iIzqBDLuEbJ9IGwDqPoU99wZf9HcemIeavnoGvM97Yu+qmuOZ8CwV2VXK8yQysMWZVY9GGJ2/VLxizOJjLY2E+jyd0CRrYfr1qiEItXmfHt9thRoG9MuNYcpgZ4cDKI0ZkH8drKDmekiO0DF4t7ncvU/a7OrQgZ2ehnKhSmnLDRzb+5lK3MEnDH/SXEZHV5Cx4jR4GVRKqAKzn4+hois5Uce2bMZbB/ImC2k+OxIf6+QdmVHWwCTL0axsdc0iaJwPMeUu/BlEIsW7Qh+au0YaTxKn+1bo5LjqKNq5u+7jC2wLnYm5JQfpC0cBuD1ZrMGk1aRM7Zq3Fg2bCF81JGqDv3guk/B6lp6j43zyweJejX9Fc90B9Rs9UWgZ+oiSIBild5ZrHYBrK1rK7PB+TqzeG5HKQcLm8zuRpkLXVzVX6zyzcpR6kvZ6IbAb8fRkdt1yO0HIOjdQV2Fg0UmbSnH0et7b5KCpm+3SWHAgroxDzU8dQwm4C6o3VT88aIg2wD6nvEg9+bPe8R77Z8Hmqp2hfrb8MtmAauJxXh3AULYnKJqXvLJcgAQ+lecGA25Z1c70eYkIV/uHm8aTx60QGlrkpco/52zw0hShactWYL/hWFpAG/quPgxWwrjQEkFyqM8OrBVAzKWIcQJLyfj217NQ9/zRzL0e2scOEoZ5E4UF4DGTYquLgzkj3y3WWWIyu7CfKtTJ3dZZAKxGcnlhWBgh2UV2FhJJ/e+k4ALz4mPelQ2pLHosN6RsUSPtdR62s5YAdSZ09M4UR4lc7BRBbHZe/J03w2FeY8KC0J1B04CiK9xDauzjW267Hj4ksRA1xwJEgmWSVlNWuG0qXP1eUr8pio6XrFR0vZsn74hKRp9juLBiH+wHtrD00Vfd7TlcuD3vF757d16DQhXSmuvVVZLKm2ZDrcCECjUU6KXnOWfVrEOGNc78tReUFit/odiwiz1g4xSrtYoaTGjru9nJQc4AecTWfyyQo47O85BB1Hc5nCrBP1v4AT5A7YCg8lEfTwV/YTTcZ26SwHNE4igBTbZdXutTKSCavQ/CKlk5Mn9iR4iRG6yWJiA3C8d8XyUB8Co++oTc0YTPgyRByimBmTLXVcvh7PVQ4hs4AesrJPR1IJlISGAqmpmton2yYK4J242va8k1zsGTWXN/gagBmNnb9d/SLBySGmluFVevlEH34Sq9eHuAszGx+WLJk3A/noc7vWK+68IayE9wBzFlPVfGx8pXlSskj9kxcbS8+fbO/JAk6K8ZpUB1ySjXd9Lap4XN6NRqdHolwzXZWwzKVtZhCwDUlQA0RGIPhbPdpaBdSndSp9+1VRgTVDngru7Tt994v6g4qAoKXtoNffaLHeOJR9TKQ038xSJzsOPOvPzFP6LO7EC+/c+q+DKqMMh+qdCcb1TWrxbJv5irfTxVYLCQHOWgbG55vYmueHNKfIGkrnFvJFXlC1JYcw7TEvIL12Z+zQMvGbWKYDw8aMra2BSxVylrhuvkNigYtnsR6iXv9jNoPdWHfrZwbRguxJTM0yzSNcMi3heZzNiJAp7ixG7KB42OQfB8RXyTGIV7Oo+TsGxns75FPR3qPeIbn3Qyvg+ILFWgOZauTl3I5L9iXbHV6mzYwWzaxr3+R6iFawJ01pJwcxqPAOYIg3tB71haCbOCimA16uqzEuqzfEMID9W8ZvUHv7LdSOEqtbL6eIgnTAhivcURgnNLgrZpM7zshJtddhJUOFqf2zjlZXvJI/6o5fkyDHW0hoIDPw6sM8RsvKDHqK/S/N1U9HJkkM6++LBhPMWYKZ7pXaqJsOjNCBj4q20svDI97BiTNAfHuRntZ7m8Hbbhm4bf717drgosttmesGHlWn1i5IJvr3VhsFqlaVuNd+0QDgFzgXnfZFN8iN97blBPut0nBKFmdHfQOlQgZCSctUfhEF5A7c7vlrMC+JpubH5TwKV4y/HCUo+Zst1RH96j8L3LADkrKaemm0/l8FD+hJZvs8vyjJkjL8DfkVPt3vx656PYsLpL5qYRa5BUwWnMHfRTr4JaDhm2cg3lV8KauBMsScW+OUtvEnyoLmSqwTeJsGSYXI576l3ofT3JTEALrC1zH4JYRWPcvzip0Gg9YOprScvPs0ldJHWvYGusF1N3riyWWT/hOXhLWJ/sCNUgg2i6MDeleJ2v/xZsoN48N09SqtQ2aiHBEimMqrcTm65keC4r1IXSTfwtdOfygXo8qxqFPyaeRrHo1P1GjHH1k6hl/0mKbhHlrbrBs8DN8JBOzpi4hYpaUKw/pbdrakLrFFGis923vHaaeftVIdiPJiIkIG+6I0iZR9MTSiv6m0FQsEnEdD9urtllqVjwsqJgYXOo/+ra+1NpOdu9S2xQ9M3bpg/vAUMHb2/LBcxqpEUMPVfXrtUoew0kcIWHsZVCH4QnVLznwG/8iVDjcfZT6thJ2RWni1gktdtBrxrcJ+u/a4Or0uRmQciqEPWAkHE1C994xJVOzvJwMJ9jcxd4SOeusy/32SzKXuGwwWbY5IEiJnRyru7BEDX9Gvh53NivXDNco61bAD+xDJstGjcQ27sa1TrOO4fyOy0E5Galuws/RN1jKoe/faQOCc+voFZhZyyy4i4RVKW8ZLvkTZQz5mvo54uUWPi+AQ+vqHsXy07vZ7hpNqNLbF+2Sv7dfCMlueDp+9OX9WQwK4ny4CJZqOtqy5DBJ+rTk3ss3El+CNrsybHTAlgWbEhupQeVE4JHzLy/XHnqK2vnN0M5wsU597h5xGFeCLGnkI/5/LzVHXceuA2+SXdAIqz5N3u9BcWTQ24djmCyCrEIcvu61m+hODw2CzVn9z/iP6YYLSZ9N3BTG46Z/bWfKxBBf/36KD/KAVvBrgXS/WeIEi176fERioADYqU6v8Eg7Kx1qc8NGNVaDYw8O2P7gON302COHl75mHLABkHpYa6uq5sm5r9U46HvV0jCqOaRJzjyizLoMjKlIPQepFcVpTjRc/wTADG7rYOt3Us20xI1EMYztePTdbO9jedYQ3RNELEMfpx5qs9EbbGq2XSD79IKWDIqzkNkzLAM0mgUpABiARJsltcL0oMUNyqGw2u0soXiDkCwmRo04Z+OiNC+7cO2+WEGwDqaAFyGawwpMi5tiaIoK+F+CsvtVEgT8BtkjFkeOy+zZpPMlzCtz7/ydNjzc8aBlDW04qe3AzfUAtUPlsqZeZSecjB8YA1n8FnI/EyFyCTVJelaD0uR2z4hoW2C2QYNtHGR8XVRDCnZIOGbziUvjfXaW8gXLNNK+lr6gr1TulwWo6R/DutTBtJrZeVO0TlEuSwnbqvDUQnEbl08tepJ5Uo6KWiCC+NzjECYoURo+vuWB/Uu354ondV4pBg83bwfteXQtszgx29gWxtiobP22CPhZG3OU+kVAFCax5DSBKGY2oc/zywvGockhumlrnO00RtkXX4bkwMndLYfkfeRAocyiXooHkaluzaqW/5eprp1FgRx0u0mRVKvHmrM9WL2ATAcYYwWRyAu1fdJ9G9DjlLGKuZ8Z0eljARKq53tuRRCmZ6D9uW1dPGr44jbBppRzXHWym3jx0HX99ZQLFoWHmSRDqw7YGnknEwG+E1Mec/ICSOTGJOoIJDSWknIWEuMIkTx+XeN2gwzModF3rY/HOlv8OuoEw3By2NTAZT9dFaFSC56YBqJrUwGTzwoCxR/1M29LTwBJswrPQUeSv8othJg+OZo4pnhWGggPM6wgPTCUcsQUPtk5f7fEgRMNCaGmwzCLXuHiacVfarv1o8UgtJtwsDLE5P5SBJs57E4q0vQQFt5Uep8mqlvl2BH4mTDhvuZ4caDsreCwJd80GdyfpN3X1rngfledKd2oAQG/8ZuHrd6rTOt0xw/zp3IqmVnVLUGP1N2VC/w4aSvTm8V0Mr4YnkrPfemGVRmSNqmcO/SKtFiDpfHJ5deoIEHqKyVSFHScIz6akLYasBb6EZZBNT6MmInW2zB62fPtsj2j0ZnZ76ZnPPRx+m6859gO4OEoGQmWn12VDF0RvmBrRvatxiQm5mbQs70jVR2ho8Wp77n8y76PrbFxkYcw9an0hDjEoujSnW31lpicsSUUy2Gx0JqxaJZHjOQVBaBblzHK79jLE9z7U0taelgJTPNnO0oivTA9GQZQUefGLwDTgisK5i2zBAwyhcnDyAhZ3yugTakn4UTC87sT5q3faqOHvYeyYE0HadpjI/pEnXZUAR5BrilEHVrf5kjTKtD+9DVVmdPH/MlYsjW/sh/Zanlvr7/oSJZys5vjq1RscS3DK/TKlP3iusbklszGSE5Tiak1uWrhlJbAOBxNAcTTXt/6hGgsePDITU6HwFwtDT83maSjf7bX+NevS9IzC4kHfzHG7+d3WLj77avAguASWGn7KcffdIjMdrWFfIGaFd61DkMp31uGD/qYsBnleXIxj/TsSl+TeP91qEWgxErhWZ5EB2y7WC1a1R8lVFkHrN14Tl6EbkkxaWyrYEj7n+RNTH5aLDRmjNlSD4i1hkPKmu7uRHNYlnts4rq8ldT3aJgQyDZy1UVgp0UekUArhfO/IczaFg9o1thUkyv5vWIoGJhtf/ZzbfaaVX1/F39c6l6Ww7F/aacFTrTa6Daw+8V2K5wwf5WAJZ4VpaKbO+osCZso+mym5YbhjO9hMwJPfWpOnvVtiZ3rSek24Kn7Bk1l4/LWcCwotyCx5S9/6trZmGVmuUD3Zja3MUFF1XrQupgce5beiuI7sKprR/jty1Q4gQIiL5/o9UjhwTbRYQqEC9m9ioAPM4idH6G33OfsjxKmQ3P5x1+dV3F7pk18qoWwjc2sgTCKOUcDr1voPK0qLqDYQOYzmNOdM6R0LXw8IgeK1wO2+Y0JBtpbWGDTdON5DBXcnpsFEoiY1UdxUK/0ATeCBV8k5beG/3TOOS80tkdAl2BAFqvFD5tv1fEGNZdYDAaxBBJbUuUSpORDkUhe2kdb5pD1e5Qp61Qq+qK7VhAhL2z6hSdSPFcT8GSndcs9ER2oPFiGkfgQqndBZ/sF4b6yUoY3drKInQX4HuG5iitoMC/pk/1VfGD+b056FeYmetJp4kdDh4skm1G5J04yw/Q8M3jZBeVvSXv4JORc6WWCYcTpK8IU7uv3qxWDy5GEz/q9eVSPHx5m6gv8JAKND9LI0Abn5vAXM3IMObEPHSKsg7nd30q/rQmtSnhHmsW2l/Ne6nZH+wOKlLTfu+pSiMidQ87hW7NSlMd3YIJzf3Wb/P1J2pTLY7N3dcVsL+1VpTbXVWDVk+6vsqpdyDtPTcEkgJ5t5esEf+ArTKEgxEEzhbtQD18L8TDakH2ICK7z/AxSmX3dfBaFcdx7T7dAX7sUbyYmVteCMHfy4oI7auLbMDcR50rBnuJa+fjqHPmAbk5AD+QA6npsU0g3QwrDe5yC9OZi8tgSsAahpUXybOTzJa0G1rBX5xDoY2WrH2AufHSrsvWDIsLwCSKGMQszmhMvkNSCQaEts8M6XiPRxpvvnBhb0Syx6ylMSr535uXyo5hDqunW7SC0sd8MKHZKmkN+y0V5RQGngBEFcwBGuWsE5pDZaMPyzF6aqbsxX56qamxyfZLsoMNCnlE+43Z4WxhrZlCx66jEI0nSiDnGCBtdgd9cyzMMh6W1v4/JviiR9A5IVSNevp9a/mdowXeryDZaDGGi5Hn4+IbzWMUs8IANIOn7Tm4fxdr2APj6jZ8U8rfDrnzUGevNv43HrcP5/gYNbA2+UT/WD5DycxoDaY9z+GvgkOuYubPiZb6U1MbrSqX8kFmijx4FDpKnb204UlQ6qn2vsY4sJqoLjHxftoJINLlSJ3FHB2dpgN1oCOphh/1ZDFou0Bpz0LhcW3K1+74ZSFhC3i3npgudnrRzZAf2VHUTERgoh+eptwSnMtoZywilm9kAgHTS53nxHAZEovOPCbHfRhfC/05pFcaLpdJSz1brRAYQb9ZNfw33pTJ1JsRuBKh790iWgkyDKb4DqdUPnM61cm/dh4Ll6ABXj0xA1iCQ/NrosDYthQzrn4bvjCSKWb+uQJ1S+d866B3MO9rkSm7x2cKiUoNxlE4gkwwbm/u2jnnDBWoJhCSu6DvB6jRPtU9NwzMO5bSJgApVlFD7PyBWJfSNOml95Fb22d+9uxCjv3oWdpEusK+XkcYegT6cs+q6Da1xDd8aE/Wq1WDCn4Xy0E82bRDcnRmwXQxMIqMekbJdJdhvjjmoPttaYb4CDCpLBxA6i/LF2kwwYqmlzuerA5gHdfaUiPIDCFmEdC/syxZPYoycoesbUL1vyKtB4vZExdMxniRQvMxb/YF7k67ISapulVLa5f65jXrHkysLJw76VGfqe9KHbEUgGLVzrECHCBFLquhfuD45+kw3WgEu4Je3eNK8BfIhq08ZCXQ8yUpvn47nd2tKOECglOduAbRmy4nbtnBwHO4VmYM8DrFjecIGJPN4+FXtRqicwzv9Sw7XV5aA7LigXYh1kOai1RS3SLD0NVfFQks0rwo/QACKl/4T9CaLtqSTnc7WmQZAsZasq2vTrYDbk89vGluAud3RSjrMdabKkZ/4ZEsnLSF+dXzsisKmastyKJzGCVrtd1KHSfKRwBwC75i3kGG8sZvRNkivEAYWz6ISLjUxSLWlKxzvcPl2U3dzweedWeA+gAR4+eJpgX1UrnloRq33rCeu53unDOpgptu1NESD9cUs83zHO5PmYnLCNyruidwkXkQpU86yA8+TAawmNoXLjoLiK8Om/8yVnvVw4Gcen2IqoxMIfJ4Z5oG/xFtsRS58Xz4owElDJLe3wAjQ22lRbUTCKVhX+T0Yta9IGTbWy9Ic/FHPzVAWNJLbd7YeIcEREHNbLaYSGQ94jkpRdL9X4ufrC5fkpv5ZZMXAd/3m6N4hceqT1Zj8awCtbiZjRuBbuhTo5SKc9PwIJf6nHUXFx1I5VZSxvqjjqdStZqmM2MWCFHBD0fImI/R67dqSom4p5WA3mWwjUVSMNVDJG92/LHT2t3yYV5ymW8IGkrJSWo8fhQy19mGTJ8U1/LQNzXxbjmtnswjWPwwnOecDvczWS9rp+p308WvtjVfCzNPAoA6HsBP/T7jezYsW5WUgDKne0NGe4+k73Le3Vv/nZoH07nQscM17U2S4USdYa+cG0ViKLaSVFiC9FcHTGalAm+KHz2/6HBHzZIDPQPwFs2yf8wRk80tET0pd4ZROULFnU+jyeX4t8irc4xRtfQeTtxE77fL+8X9nJ/8+1suQFuhLMWE/pBZ7gAa08ILqStBVXBFEnOjR4ZGCagxfWz5InjjEgJIWyRDp/pw1Y2y2rRO5yESUW/FvsUirc+9jI9YtwSceX+ev9Lt3DNiYx1V9dS9wQ7j29m1BKn6BlqAhsucxy4uu2Q3bs6YMToDpT5Qd7ehyhlBUfysWfx/sv9Hryk7ZZ/zc0BevOEu9+7uTrLgyyQ0c4D7HLDFjifAH6XNv8wKeOl1doYYtvRKPLGYBVIbWNO7RBbB9Ji/Q4/xwI84xpIDe0TAUufSK7WRwccD1oSB9byyLLOhbBH2ALy8BbBoKrYaXKti1KP+rkuKTPq30JEWpcnV5G3d0n0aRco0O5n0s7nuIJlv1RqRJmmRLHlwIR3p651vGUhIjeIL0+AZby1a6HbkM/EUEZbzANCVKljAXofnpJrR9felbfIX9TDMc147uKD4hbxQXL3uMl1OEjsNrHuAD+Q5QDRAB2dPNohsEAMQITR6zNmfWpo8nS28MqMqX5QCDS74sURhAFOglEhebHmm9fgdo4EG/yzbOAnyyCBz4CIt04uCEzrnp/F7m+DUjHk+f8QO3jWmn+9K9JdXQ5Lv3dl566M1SPa1/kRFXszQ+FaYorC3YpRiNDEAvO/5PfRW9OQlUAr34bysAMabvPYTb8CAFfCQR+lOnqxEezErhg85BAf+TxFbLJHibLvjqnrKbD4mAS45uXBHxvemRTd8DVN/fYnzNOo9ekIB6f06GMkNUE9pXaxjcuJZMdg+j3p5BSTZ4lJSSqQVySn+ou87mDJrnQAIEnCifVTvpha0tSQKY1rXJhojiyMYkC0MUFy2au5ToIydKj+/VBWZ57zTCOMSwhxmyb30XheJFumpGWxcdPVk5iKPrkLZfJJpdjBIzaS90x6pSLSzuzkn+OQ7MFCylQqHCxqzzxGbzFtewbBMhdCJe9iBhjP6eYV3JbhOwsNdFDFHNSx185LbhXJJKcMt+F91bm/INPWq2KJIKiEwbsFNsEkhV0QPNWe1Y8FLVDMIDXUR6OnFaY625IQt8L7G7zSUipyKbrJrl3oaZLLGZjcdHue8sRJhnOFpTTXyul3SrvzQVPVlBFmujElQjiAC87Mh+jEsMK3wPMdmWASTL68vGJrIXeXOZN53EDQCbMVXIke7wC7unO0WB72/gOXvkRY17Fa97UXrpok8gLUCDZsBJlPhxj23IP5YBObBlA3GuNEjeoUtW59MqiH2Ek5JFeOs33WgqLKu6Oj0KZu+eocTc6vs+QJPAABhAOQ/y4zselzhV6KYZzCCj5mvwjMxoC5NqFSVXDyvGtyxJ0efRhdDb0IanKPl3gPjP0Zk7vY3HWdFjo4bqI7DVtqffWS0vT3Y5sSdnh6ZWlLQgmmO2U5IvsdlFs/5DIyn8a3lqWZykelNwaDmU6Dr+BFF6zhV3dbHTjGsrATM1TYMrNN2O1iI5lkrnFhexDnJkCuDzyMA9AH/HktHpp+3UolBfcqmmDy9CaqYwUclkx2bBPS3MpkpL/1tTFEkKeNA1BhoQrwi8LKE+DkEn+Z9bt9+NJJgNaKU7i6Kqx1vlvz/wHa6qcqP/5zU21kaVpD2tl7XObOBJ4C4+rIwTWNNGlGC3tz1MFiQRFuZfjeDRKVD+9g5LLKOrJDtJyfs3HHQq7m818udcg7z/GQ8haAm0pBY9E4TllLx+wmUQk/tWnTETBMgBMLuERtCStLgRDaKFeLJ8ldCmpuzVOdzQvqMNqm/awBOsrYJrPNnQWEs6f70NicDmQj4tbPrMfP5mO5CWojq3gDMdfO4iioiMje3QEjUCZGqPHvIK9pyrkYQXKxVrRn3F5NQAE7OyEA1sMUcMja6Hq2eygpjvghAYi6LKpklUF28jRCmojcDt1HJjiX/CoFWPl+rRaI9oLqbFyQba9eJdoy7M67FW/hsWiEGV+GkZojxm8UzLU4UuewdntZRlRBSzjA/NwxoZraxtgKS0V6oHMQf/X+iukwZA/4tzOq9SQnM3NXTGUG74LZxKr1jNr2x+utXJJs1j56FhBiUUM0ltcW1X7Mm5MlXAfhpo1WHwiz5BhLgbOeFUmEOAuNVuGVXvjsaDqBWdpPRmzwMWkqJpO26yUZug+In7NEhk6NN6zgosIT0AWhFBT1w8+CFDmk/5miXS0zy687Z3oLmDqH3F9LZEOcGLlWXZzwshSOPnJ89Gmbpz60kOxpm0ZodGZcFMPJHmXY1wjllrdRunkHAqBeSklz2nAa+tw3Hu18Og0w4XCeuJ7P5/O/0ljbC1r32OMG/D5rvqobdv7lBQKFjgvl0Budda2CCZik4aj7PoLo8u6Hmdz5qC24JoZmmF04om57jeET5T9Ilrqxibwr/97divZzagX5LQIiyM8IK4Z1r59BedtZymsvWptBCtnwc2oaD4xfDjTmXQPZBWK9h86JO7VRelVbEmTKCjKWgK2CahEPAl84eYoaBUK2h5aPFH5R/Y6rtWePIPfH/6Fp85Q422RXRMTB9fHGfXAi3vcdlYoukKyAbf9w+AEA1dnaNtpGdwLD1KAkMuTsRVq4p5ME20rANJdnRpKz7DsgwqvEy07peU9JkbRUpm/gyURfbX4o1r8Pg0YcZ4+vfpvwy59EmDw6Nq149rabV4jsgLfaedAVAnavNMQ8r+OkGHw65afS7up44DGyOLQVcCCpjZN9R7uREwQEFPoLhhhvSLENQaHjIj4wL68DCVnIlcgLPPnpAhqxl8tbaXkCVJBGD+cpQ0sZpwtt0P3GpH5t0kDaM9wxcnRvUReu35f8j+mRoZKCxNA0ccezICs1QCVuu2CZh+kfV7UolpdrWULfsfvABGLF6ALizzIUxY5bpCMkcuNTpcs11xMi14pE0PmI5PjKYnfcSyeaMCgNGRNGBrYU56LyxrK58fw0A/PzeC7GhOSBBbuVU1YGkzLDbcbo66FLi7sMOfSFSSWRcb2zqD8DfBxmAzduePfIKWGMGWZKOX4LPAChkX0ih8ksuhquCbLuN9u9tW4LVQR2rXLkio5tWr9wM9CItukzKHZ7zsz22GSu+EAALWAOT73xz09Me7vlKYFfJGA1H2kXnGxe+5Mz541uLMxXvo0afWWrY/dvfZRCxpoGtQ/DPIqwRoI1tWyYeEnijCxEVdlH48ENfnZ6NHQyeTTwPiyS7rqD5I4SbjOOy4L0ptIuvPhxUpp9z6sqnUhZGQq8MqUzKVaKcgaWi1BGU6HcPMVVjnMB6wTloj1Nzi0SNpjmxbR/riwEeev3r3uKBnEjOL7z9BQ0NmtyF1AwosccJHJwMBVm1+qVP4YE4Z4b7ARUhePgqWKAXR87DcE5IQoK1pmekedQm+fhqDI+kqX1RFqo9UMnrvmDZAvArqqRCGtQ+1T5XJI+Mv1lOsZ6K8ow5qWG7r7nFeIQDLEqZY41mYmjAGYhFO3YeDCYtkipSwD2C8pHrpj9K/CgafxPq6T8npBmq3fhI/znCPwMjCzZqb0QpOru0Z32IhRExaDby+jXQaBDDOWiFpMchehnQKK9WvrJF/LVOdtk0NXwyYFNbXI5rGkL0UwEfwzZKaSx2ySORBZpmUuc5+8qNVcKQqCKz7gXbcLqGX1oGleJWYEqfKZ77c1bOwgr6cR7v171H0GuqFjFNPAfXxbsWP2UVu3bes1yr4JrRK8hP0NOqf3nsuptWYOspV7c9hDHgBH1jA4WfMWz75E+DISxaKTCiEGvw62oR9YWi2rAoTHiOJV7MkdPb5SsZX4tiNE3yIDsecCniqLJwvLyZdB6Qubs8qlJXlR5xUEu1ngrmrHhbnKm/immdyYsMUtib1bVXkwFDApd4K4WQa5DQN37GroMHXYrO1tjy2Jvm1BSwscUNiEy+r7kNI7xC+Zp4iFP423qpmjLuRnLwzlzaWQ2tr1HpYr9pisS4fWi25FjZNfXdjPQ5DsnzZm4c1WcxpJFDj8K0gcXoyBxGHDauXn00SgIWKCCoDrh3Ta6ZQaBBEgXfWullwUGYlRBa6THNT0VSKcv0mSCrCMo6f1016Rz77FJY78zvCoE9IBmEPwSmW57OhWGJ1teH1wFA6oaLTPSymcYSwzd1OeSO4w3+lPmEbQ9jrmWKrMkkLcWKvlAbxJvL1x9W28GWRuntD8UNgryXz6ZLKrp6+nPu1iKgrXDxMDTk/Q9vsZ7WhETPILKAOKLC+EuMnGJoMhXbDgQ5XuDEh/3+uJPYO4tnstiMkkHLmSZrlRC9d1VGuhvZL3JezAnMNXIyMEU/pOEU8caRlOWN5pVVY/fqos+EluTj8L7bpKPmbv5lH02SL4ilTLrF/rOOayYiNon5mPqU9bC9xhzffvOb3UGT7cWqiI3OtdVkL/3+levChcWsZ2vWW3vNXz+WeS2QF5J7eJOCsEG38bbTu7y1pJu860VsUkDavH95t6VSVXngDkQcrB7RCngaLCOpu4niYLTi6nMN4B6d8uuDNLEKIF9Xz9xTltWDNv2y67ZHjHfimb6cBBli1Lgoc1bwZSIvxGMjY4CsvKoJoTlvrDvCODJQfPCNn8nwlfEBU8KPKaIbrdEHaMlCtvvn0jJRhDsdBC97oXJTPacmxGjJIG6/+BSHQ5BwRfEeJg1cEcFf2+9I9YJOwon74aVguNwrvpaM6SnJXMmfQEtEWxX02pvB5/0vMsrjYwdENLsdpOKFT3HjrW6VV8C7tFeW8Hlzmx0S4N4Gv/RP6tzFbriirACG8qt3SHzBzkq4CrD9pHbRrt7M/VzpSYHv6y+k8MpV/PBnjrCJsMLJ75PhzXCz8wH5p5Igu/exJvh/vt8J+x73hhLyf07Bwk84QDXj+zpFGEq5NOI59vF4nT/XN/dknnvNZDn2uKxVPFWi6otbiMcfWXl0IQFmCfGi52UiSUm1kR3PkMoqzQBco8lfqFKXDr0cL0s50CxMh6VMV3BRBdrHNtT3TqrPJdsjUZqrtoaA6HwkLEHbII1fBcOECU8Ft0swUaLG2yP6uoXbZupOyaphKPoVB/ddah5KgyVLta68lbM6SZ5kqnUffCegGn8ozt1qoYXFcif1QDvoq0E9wgCZRI0bzQFB5dSTEbPOUbdPHbj/Nrc94QB0y3kvHeJ8nMMiRfGVG0j1UsaQRPjWcVdxcus6CgSQrgmzpMUP2az9eGTS9FFJMDym6gdW35LPk5099oxeA2O+/GR6dEbhd+EdcdfbV0d+XG3heTQlsA+AEXYTr4K+eUDhYXSeyE7ipZxd2ztJcyTLIFHPn6QvqJdJQhql6Tg1oZ23ZUfMMm3n1fVbnQUL/U4sSX4dTB/+k+XzGRkCLygvTsE4VHEi0czkeOEqnjcDGUzxZikVSsJx0M9p/88GLcIuTD5MpjA7htCl717oDRDnMtdQNenuxlNgnQb7U+6zCQ40+WAxpLmA9+f3vFTawQ5XtEKiUUNQzo73N3RRd9HTVO9ebHYGs4/D/g+xn/fVg99NS6tshZQP0yqQcaZP7JDf/9oeU2TOCfvB0JHaxcO6xBKWrCUfeETkgedLQ0My6sxKhHHNBXVa30JEsxbqEfnmCwmFzt7P0zlf0wgaHvjefwZmz4gszwria4V9s1Lv0MTuM3mlaD6NY3rKWQ4wCho5VbsKjARuHFZ6KKmQYKYFVBfkE9rDWPEr+kl4Yq6xSMCswTL1xIe+h7BiSAKynUx346KKdwwXdMmIbfy8lDgA1ryUGQ8zoEoTeCaKpif2vFHZdQzI0r5zC0zJN1c3WQMqYE/8WWdpNUL26SUh6NEcFMkFOCdTTbhA9VsDcV5iuIKkzuzDckHvBFOmrnxREqvErHVOWi4W3kqCy5o02Q49CXxM6S4+B+n0mYN5AbCDj3B/eVi20OSnNdevL3GKabp09HQpYDaSR0pH3ft3Wu9p04VctzhCA7yjOW47da3WNt2IHEr7YPGImDStnEbOaenwUfOjmA7PmABv4TqMultqoGX5TlsTWYh809eSW7XCbRs5mfOCi+KdybWNxMuCFWS7uieChBEipHVCHzEw1fOHy8cdce0kxdXNTbatFXhEIO7iCZTrfynlrBcdPL7GTgw1bWN3LE2F5sPbwckh9D0oaJkdi0ORR+050fYWwF81+RJusZLTfhlxhERx+1J9R2HA0Jxvju0dYc6wiFqgPhJCJfT0nROwpkHi7C/BmkoiOKUSITMXQciVMIC7nATd0NLfqqxk7/f7o2O7Y4jE6R6huFWoXvTKeyrVHMJRryJHM39g8rbBDgUV2BMBWgxh8NaAbLD0HVy8i21Fd/K7NsD25WI31NGNZeHgvoXsWFLxueZKuGstH8sFTy3BA26K5Y3+CVlmy0uKZSemhTTcHYvr6QhQkFIn3UA8BAsz0+ebWDdMSVmxKiNHeDut1q7Xmq1tzd53fTFobzlRMBlz8DxCKTuaocWZKGQJHJ6fMFbqCAYGBQobDlol+GuYNgCD0LTF3V3N7D3d2eTWjaRdnZyfRXVV8nETGwkOIUV7KVx700m48EqrX93Q2KlLOIgFP41nkFfbHGStUXwOd94m2KzSH2iJdY/nSgv6cRO2mqhqgMp7N1ZVJKcNUE/F/2Zmz2Q14K9VoA/e7EM0g1cYxmtKdbEw3+LIvohuypkSehC3sGOJQaE5kkQD/8B56+fASkWMMdSF4btCBcj4yki9aG2vtU3P2XAgmNDbfUnZF6iOjQMlUvPJx/N8OmgDWov03Y+QI2tkmHxrudN1cloEqEeahGlZA3ttPyrjifqmTptxxx/BJQ4fsyPZT67uvmDOL/DoUDuTXVqq1vje8+idaW5jZpNVf6R2EpkJ1p3ewyL+c81YvROTrWXYAHiJIptDgbBB/98hfBJU9OHtMollfUchyDDrgnjhQJ8y+OGcj+HxpWH8Qa2MYoIjmqB1akYpMqudzrli7r8PPJ1XLnMAndiSNLqhQ0eOJfHUctCTyBUj5xnzdK55LPaxlaYUQKzybe+N+vAUhsv4P/EgUZRiViocnq2BtJc6LF5VFlbgAMJfqP+JqAAOnfY9jRQ3+0NKuunZJQ7y2U7vIdRi8eFvwIXnslZS0ZhQ9CnbW5YMXDJt5zIdc8LsVj/QnpxGrXv5EUc3+nmt9gK7Y/DwN2qZCXYy1vL+zM3zMBce2CfPkEwiWgKq1lvbntbHi6opr1II8DLTy1AS0VO5PEzIkCTG7KuBOwaEcIiEzD2V3fe4tpZWrgOVm0DLbwRHwEhoE+kWbZKAsvu+OzUTEmq9AIgfZmduiuBbuzHKcL4hOeTVYV/cKK+M+93FrIdEkzjR0AWvqx8mHBOR3Jk23gegfZAf3L2mExorV5JpazgLoR1mF1phlhfDpBRXqAYdF9QRXeHC8fTBi3JQGA2JUzJ1CSLnUKngtylJhG2Y9ITx0OPbGxg+NLulvey97CU2tOyMhway8mFlKGuIfsQrwnrCNWyoS52GLZXj8fsLs+L/t/B/fYd1AZ2/6j/QPh/Yj3vwSdMLimOsfDrAxHvVQwhyHBdCPyq0NjiOWvjgD5yM1yvaAEo2CEKz55tSEyemw1YH28l9CZP+GbGnIDJ7gIp9Vy2uNM/g0pnLTQaspAC5M3Gsu18ua7caKa77Ug3DMAhL3yG5c8V0fFImPX6I+5mNuo0s/NIT/n9koqWTM1khToPTMLYLAj1277YJGRRCq0MnI7LmpevJ2ZrlcXLoPJ2UCgrHMqRjCidSVTeCChOZjmBYXkvJ3AviYpraB0DtGAeoaxgc+bqn86qb3H2z5hE9XHi7FQnYYmpeq4Eql29Zb6ZF92d8KL71pOB+TRS2fw7WORsZViOTJQPgGgTUXrj9b4WaQ2suq6W4eBnc+77DrH0GHK/evQNCupnNl0ErhvGxoQrx+0gHYzUipk6/2RGxN+I/awraKfALzreHROADauJ64wpU4qiIu5yXvv5ipX/x1pe2Ml/O2op01Hhiruw/O+vv/0n5SZhp2fAvVmh9kI6HooSoDvVoW3c//LdOycd0Ua2ADG6GBySvzWjULYjL6MsHu+VceJmxA97BZtiwe+xfyiA21aSSGuCKJF+zvpD3C6G7AzIYrimaQJXOxgc40CJrTSKqh++m8qmiYwiLK5x9vjG6uy3co1hAQt6RKxlcApRx6ITMd+whm4JZ8VYxF/ZZOd3gS5NYisxOMuUeQljOkciDT2tLxLoWQFNGsjvBrroDWvY7N6Pij4os88pFblfJ1Mmvb6Jccdt1N/HZthCX0VMCJrYR6GQx+kHeDBu0xqycbRHrdcXBJM6ARIwPj+QRF7Bd/jrcmMo3DsXK55G4ENu+Hw1mQaWiIngjfVl1faLcJiddsacQk1tk8FViDNuaCWFTzPcYqfevum9PdXTDLooKoe3C5KOak400nfwMnMdVMpUU6jM/FvW4x23Gf5hPzMocVCIrB2acJUeWBmgIgkn45Kr6hF7t6+7ps+YcFhd5ERCqEwby+fpg+hrA/iOStmbgzI3Uh3501OWFxoAwJfD/F9ReEmJznSZu9ta7tvs7IOfQKcIK7FgLfCNsZlpFaoCFL1P4R2Fd07fdR6lU/qcDKdoyHndlBPyJNlEkHDiZNYXhysvoy7z16gA5qk80ceQ1wv8TCwDAxhynpAeDPZFFSyf2//nAyBxNjBwJ3hq8SpMb1xhrQd7Ij2dNhGHhUXULgWVdyOd0oljVguYKW8wKxLv1qV0kFlb4bv6Y+FO661y0z4d+2AWFiHyZZdNz4bX3KfLyI36PpTCzt3mSHRfboJzHBLOBpZNaUsmrrjorkz43ICoMNitFuYtd/ensAs9zq4kTWCxLUyDvgAY5A+lh5ae6eIESKuM6gthAeKFa8tLKi6oAx3ffPv/CpwThNSzsfFw/P3ZDUTOYxlcu+g90eMC8lx9BYMWa/v2LZBmbZBLOyITjxw8MIxU2McQ/ZRe/OUCtTQ/Su56hGViRmkUKI8bEZzKL+iB4J2HDaKzC7kCztePfYmOidU6eIGZW7NbouBY7ZmVXsLVLJOUKWVmWGU3yISxga43rwF3n20jrzYCpQ/Y9SYTcXUVUYhyKe4wpK6dvFxF7KG7UrZ439wvcdSXF3B2nqKPPOESRCY1k9Lbr9iHGQCGHNAm2SFEX504TFw2dZWoUCvcMdhfCeDtV7a6Uh36fAWx28qmXYpNY0vmHKLmk0/mTrRH3IMNiZTUGEHxALDQ2gFXseZkR47opAl5LhECNtp8MekoPf6PZ370wu2FlkWc0XhMootpCHuhfpBrPJcICY7wX1axhJ9pXUEYYVVeOritfTRd6yUl/975MW4IrLXhWkjUMwD7+1VzAaEAZYeFxzERxl+bmaHEBKrMTdNJecsLRlMcP2+987jMMsdK9Y2+IFGWJwSsz75HBX8xdIwwll1RMmyA59cVA7qTfrKy9jXhWwBoEBUg7RDjHqQ0+XYQy3dpgtbzqEB2QQiWzD4BhUEd1s3dDmS3AoEBtJzAsBYUngx3XRG7BlCduNg/5hqoX/jgO6UcXdHwhTwSHWqbdI9emA+1tIaUB7cVgWHIOCfYDbiPYjA/9ISYgJpYZ73y+lrIlQgRG0V3OCelCTMfhIUsa4ZPY7tp/Qb0E25MdJ9LyeoIGOZwsXA/kIWp3xY47XM22P1D9jt/39Prs2tZGKhP29Qdsr9Iri/MwPv6FL/EtLHIAN2dkObwE7pTeubVp5gBW6yt06Eav7OvPJKk7ugidyEpND9h8gUvXPeQyS+0vVD7hyb+T34kru99q3MQ6Vm2D99FhRIan34k25boKkR8hY89CsHC9vM7UGO4QumFWpneTd3T8o1PISGUvwTc/nL6aneTvmwnhxeMsu/oiT2E6kAym5h+Bx952wrz5RyNdyTFvrxXXLjhCitnkhTJyv0iEfAwZH/de8OLDNIZP6THukWf5Lnk6KOWpZxFU4Mt07gOL7X10vXJ5ar5uBEZ0pvE1OsZECXDme4Ou1vHRO54ks9OvJwo/jLL90U0NiyGEUYvkyhALbjLCIwHcNfPVd4Ij6Bb9IjU7TT+houJiM+fIJHEAXBaY8TEKqZLkKaam1JEzogucGZkiYN54w3DJGEO46ebXnMon13mB8Hm95/imDih/7QSif2/UXzseDyEyL9dakWjOpmleYaLCvFaxSQGmA+GfKvN+HOFYjfEiF2xDrTBPQHvpFPaPI+SgdEeszcI7VOPvDA20qUXoce0XZ3bZA0IMZfuI4rvv6LQHyi4ARq00k++2/U3jrvuZxD3I9ou5+w+GP+u2Rt6H31IFVZ/1Z3aZsIhh6g+2CAvf6v8jJV13yUfp+ANYawsNBPUYdLENEa3M07Pj5L8eS8oR4Zi1AOKdmENhpayDqBuLreCfF63Uh681rAwtX7zVXLrALfpMM5nZvY8J56kDyduPwGBDnVmtuA8R/VrP11wPs0nxWe0Si84YXNnXKArfA2iyfutB7aiM8+j7BsZVnk7/jNHumUf/rX+DdfYpW1270Y9CnOgPLPwWwy4gjePS2oW4I0wVY9KmcxwVM4Ux3yRW1xDdUnvPwYHtyky+XERyjOzEzi0JzbUBtbLqTdTgdFtBHtSI8Ofr1BmEHaFi7ArDjkzv1YcmYBag/FA+S/1EkPu/K3ZQy4RVm17XIY+8EoBr5N074VTTnThyKju1RJgzuH1lv02lNO6gtjjjHkeSDoNFMqsjBc7Kw3yG2nWGRzqDamBknU2+w650V3HIYkq8d8JqqZ96/AUFLBX9vf3y4QC6P7TE1IGSW6kFw1EfMhOErkWzTCqez+nDeM9up+4wuc7zuPcquPBLJEcukyb0oLgNLYMPy1LNQ5HuLtp1+0XgBvtrXFPYBw5KyfmlbDvY2j0rdEI66UVqo0ZcwhB9CMd5+43NJekOSUtG6xTC6TRWj+9h08FAItK90qQ8wMeSDrYFyzbhO86jFQKUSWk/nNwq5Qw7OGT7h496XbrTiiOBqcArs11UtMMB0JvDqpoJY0nV+Re0Zonyk8bWbphOpbWqphJ/yVSXNa8EqLBtM7Li0RGV1/0ieSRzgJg/WKFWB2sr0HLyyM5LwE0ssVUrSg10uvIio/vXQzuqdj0XsmZVeQB8lOV3sA0Sq9EHBOWzzK4L5lf0mmYgiutBSHbDZI7erBZaslG54SFf96x9uJll9o3EJot44tSf1ypi7QfqIP3AB0CKLjEJaq84w3nKMvARocoRk+ga8/Z7CAmY5uVHClDs982+vMg89zeVqHWqwVY9TLLcENWHDfqH93VvlqrplVQUfr57KRQFq7nUWShv2VtXVKevFRyztdw7t/m7WU72PpX7owRGJy710coCD/IaDX+DMONJfrH47ahRpGp9JZMBHzGufARkUUoauyGesX6gQ3DXCbp3ndKSwGn3WZR+gCe/iDrdrxQV4jxuzO4GPHrqH4LXSd7IIqup6hDMOM916X3AKOVfYlDFosaIs/ljG2ezZ2P6VWsr3RukRZvB2ResnCOSyGoK40s7TssrfbQWVlKWmbvfTCigYMHpfTCkAP0Ol5MD2Jrx+5cKQscFTzdzLh3ha0DFnWggpdMEl2TtsNQ8X0cufcYcSRaYkpMCzkvcJBXxHOigZKNaufCN7kN6S6I04DKoi8Edk7gfyNjeLjkOSMetDiWNTeaBHNvouk72vDnrxYyeGcbv7aiy0BUdzBqhMGjY5KOU2Zb2UO4TbXf262EDvaJigtKNW3CYOkaoH41wCenxUAg9HapxPAl2NJ6fLtOJblsHxQ6Id68ae61o+CQbm/GcHF2gUCC0HFOUMHdRrSB18UnWrtE9mapr+gVe0wkSjn6jpVDlOX+HKZjUVTUIMtptz/+rlbv97vtG6f284ts4O1Kwo11VUHPMcINb9Q6grFXPsRI8tbTAE6AhZKx+4Bsldh9hWkwkTl8J1jS0rrvwkAc/70K9q+lgfjTHq6Vda0jY6I2KEoyRz0IJejnYWaTL+NXD6mQmlaRNe8mtrnocIPCH69+tNrfTkl9ShXODXTOqSolFi94TF9qyrK1+0w+dWlzSpUFM5RQ2hR0lz9BX3wbl2U24KdL8brcl5qlpq8oKFbjkpbNXzOpX9Zlpywlh8rSgcfjnO+ro4KU0R0ecgHv4wzQqhHLOw6mR95TA9p069lLfPOHDUHmZ5XvyZiinvNCD6NcvNSSoM/FNsSfWbtHRkddg+xbtcEJOqG601WdFr17LaMLB2ZA3NDbtbGGObCFu2pqmYiBgeB39qSCEHN4qLoQ0ye0A0COF4c+erHZZZ+C8IsTLuyZCSZxNRC5PK+CZ4d6DjY0/fkEZ0f9W6YTSplvQ4yebuafKUMhiZG1PSkrM2SvV6RdHtqSMFW8ZotAeaSE+oLW0QJiK9j4H12yNLzhkZA5Ue0fu78CsX7onpc1mOkovNURoGe7wbP1ueXLCvhEcOeT17iR3H75N3edetT26YF1n7Wkilv9LUD9iZT7FSYG1Shu+Jw5ySMM0pSroJ/hZStuC5a2T4PDLKUJWbchesBSQzL76nEAe1ZtDUihK4/+yU8pT5WXWwhHM9nnvS+z30n/chWgnUbtpHXNW/c3hpWCEtTGDZjnucboHRjMYcV0ObMChGKIZ+A6jy+DfMpcZBJWgLvluSryvI5duqTHgwoWQUToKvITk+BebHBiRlapqP6Lop5i6yhwe9HW07iZqM9FptaJi0Wmdp1e0DE23U7PSNfqnDKbPHSn61CMvx6K1+ew6rGSj5d7vNSAB774R9zXlnVFIxjAlb8gRh4r0wWFVPo23MBiVLeQha9n+GF5kQR4Lh/CoI1YYb8RlHWoakTsAXYy/imOWFsag/3U2l6lCstBXKcvrKsmAAxd1cPZoHdBcvjL6Ct/hwn6ahm2DjVP4wv7+xNNuxB/vZ+EOVfnr1fzo5YfMvDViodq+TV9GqyO6YKHLEc1fvFv0i6baQgcczX8SesV54uHV//mzk9E8E9INGEBWzKTUOKi86pAP7M109NdR75mEJd52B5drNqO9Z6lCN3EPakzDhTXC8Qw6aIaT7qGjoneFELbkeiwdGStm3JUbHtd3F+Q8mmIoIa9kk/0ikmK/giwd/YlYtv9Ql18Pu6W6HCaH3Uj16YabrSbC/qgP8HepY5jr8jtAWAe0aJuL4hqmt5fEhQfFUXS716l64qPmR2we/w1RzvbPqW0ZIPCnt8wQeSx+7FQN4GfySMg/MnGvOVi6CWmPhwJPXoMF2uv+A3XQTbC+HMfZjmk+q0D7UMMs23z9kP5SzV2O6jfjnKgGWSh2qi4U5NfKqBr0cCsjiX8vuzRHyIrX3Bwu8YQxumF/U+t9LpzgU8aQMGhlsjzWUZfic1FSaiyro+2dunckJ1WCHJklYaJI2stcqr/n928BHZrtt1PwXHBvCu/pIISzS73k3EqOfLytnmGEfS4CkcdYKXc6AJLhsfi/GU6iqhIMXs0+IRCMAoxr2t2mWE7K1pElukEmK3GfvK7ygzffcp4oSI9sVYjkEgScVd6k+X45rUDY6gE+7kmTENL6ghL+jX2hg6pkKLzHDRZGB3/P9OMnLG+OCRljHs0W7bgxPgLmJTzZ00YkGOlrr/BTT8za9wye95ktW92U2u6xSJt6JgWEf2qfa6eQQgPnA/MGG2BAM82z/8dqCO1yEmLue10qXzIFRIwmwV6dFsxG+NH82H3RW5fP7YaMHTco0D3HT21cmRXs01qyjBGxqDtvICvPcn+9p6haPwGGis+QWC3kQF1h97W1KyF/2TMswPTMLqy10z9+KnD/BN5d0VV+qozoTF8s2H3KZZkVQ99ybxCq2oixCGomxdYjb2AUDwNyzBJYWf/v6u6EgjGUpstqxVlPV29mHcT2m2nr4RX2dw3JydXoUcETL+aL+DF8AO2iouyvXg2kCvecigufKTK0S9/9uPUsJ0KaryShvhzkm9uL0skdXrzt9dYIr2JjLAIKFg9IbgYTlMOsAvlJeu2NI+2wGj28FuKGp8SXy3jE7KXS4KG2AW/wyI5+PhWohn97c9DSP+JtSPFlLZuz4HQkChz7KUGVHRpCYEjWakSoCQCuyIRmbCVrYqpw/k/cf2PQDj7UhCu5ufUL59S8n1eM7vQrPWsLDDKvuk2fp5/cHYfb9XJYylJiqsHG9KpxlGyRNJzqHldFTpqUQkaZtLD1VF8SWgKPWUkmB1vxahhC0h/cLkj2SfiNOidu7m/4A92Q/cWLV9gOCJiknI9/QE4DKdQQxgEc2oTVK8vHLarR6sAFT/uo7MYoDnMJqMx2t6SFlTKUOrQzlYsv51uXPF0daP8CffPB1xsf0qLlvI48usq/l3gDV93JRRHxIWpg6XZvBKFY+YVrhAsKzqzQFIpUZagkeMARpHqWOR8dsHqowNUZLx3g3oibS/+Ga4bISC+yAF/7SAJjJ373KcvceLRTtUm9KKDm+VOExmKApRaT+9XxtJA5U0QoDex+KhH27LisobzoJKAw68VRhPo8O6LbLf4QDSYmjvbW99JaHpot6H+BaYOLVTneaVewyvDYhgLE8A9VX1hTGo20PmYQcEfZ8hMDNpjB6YTeXgL1Ut/C4pkKz1ZxwmSFaF8BoMC3crgLMI8pskzZVgUCvwTPqatoYFzy1z0pDWHv714DiUt6R9hVrNB8j+OL6WusAWQgiSNxXE2lmDD3Qt3/TH/QkDyWhBOx/zdMfiM4TJUOfwWpw8yu2fnB/Bvv3GwmmCfXe3FBVtVPtYAqeAva03BEEk+ovVcxWRq6IiFmaPlpouO5w/Se6MTL38mMMJpfguIjyQLE5TskmjfYtUfEEYHA54Q53Ju8OpVV0BOwt/gqQYyY7QvPIctOG5+GBrWRwGljiOucJLS7NUHkS9FAGQi8rIm9shC6zbTCYX4bk9x/ZQ2941kyeHkgfyw7WIwaWVOHWiXxVVLiM4F2K6ZSA0hzQKEqdiNk0J6CnYGyInW+de52tyaR4b5AZhNJxqasD64rY9d2DG/Juns5eMhlW5V2WRqTylWNWOMI0kYfiMRAsgMLINcMHitYuNtDX/zLFc4RM6GUiQ+u3/deUqXGZVmNmN4vCFuphL2SZubBxgTA1OVSEXPi4WbObtfKA2LOyK4PtdWIPsJnMeL7WWrUnTuw7j6h5iz6xK/2IA4kO3ptgQOBvaJAVQ/KUUZ0Kv6oLKCidc0Z1IEsF6dY5o3DOBG+1zITZbxHPEfTUSN18EKX0rJb4jm0z+xXcKmPoS+qUaA7rYboR35lxbugsEmGpqW7sk4i4U2fM1V795ScV3FlosjOCoYCQoK6ZwTxgdKVvURGiEBQwbpkwQ3cFi6TJiO3NsH9XaArJkzpDcvn9dEvM3hhdZKrP7ldglOBY+qRNql7CdEXjDAo/lmvaPAFVVYHvdZGJee9b6iA+b1xBJPI1zqPmirfPdfB8MJRe2QxhDahGuWi5D4AzcuNU6R/qR9Jv7Fru0nI+gycP/nMCY0Sjktna3CQFCI0J3va6kljNmyUCzosZDdSUklOZQIpwxqdyLwE2z6gdFQD2SLwGAHZbU/EboWmru28lLN9tsWENJARUfqWxv1vJ36xQcIGRAwlMMzeJLlWH+XYXDCg1jqBK2HR9lqBNawTZFARS1kTyE+t0U/snEuQSOsS4M/xvOsvOC420BWypboKm2jmypDzQNb9G8XDTavTN9EHK6/oha+z2wTFAU8ML/24z6D7kOSDcfIkaI3StEjTWg12/vHxfWza6lFYdpceIO1sbWxBq+QGiWQylWD/YPdBEJrJabzwqhzOoVLD1wgKibVqpznisSNX9L+gOn7qkm+uHuYR/ZResM3GnJXP7Z8JzyUH/zMdyfknb0G/fHU2aXdk0aNrV8Sj90pY1VQaszL3bn7ZmTalHLiHAw/kxFMZsoHA6EnQW5f0gDLuc9uTX7VNFP8R58uv4+rkGksRqLhOdVBifBcqrP0nn9Sd9xEZSfFSTi5HW6QDh332U1VYtxZMksEznZhYrOWLR38M83lA5+yzDK4AoIPBes3gQ6kkoNjDWCBjl3yFFhn/a/No7fx0xnFr4bJFYR6bBgnWKnYUaKa3ohFCOlRARtL9lfSuSpUuZ+NzJDv8Vv0IML/oumndtesWAgmMcP7FppG21hupZoZzwar1Wa5+8p7D8Ul+eGqZNocaciBVCvMBZ974YKdVc7PPD9l+7oijbkYIhtJLMwBIupPJz7MlxNYKQ7jIxYncNJEPSA3aA2UE4IBNlUdSQ9ZIKKjt1kTBUfgDn3LLdQ2C++NgQXSo3sh8LYbS49SFycSgi1tX5p/imz/5U10Ko+UdtZezXCac0ef//nbqmgzWco7j+rlKrRx7cGbA6jzqif5WUPxq3SsbGQuOosFHKuSa8rMlmqzyYdbyfg9glQZXPlu92zigwVRfMA+Sek1BFFcrx1+seeR/QyesdxKqt8S4693pvBAUcp9OVxO7jhTsicVPvR3IqXWcD7XhTE1e5YIHBs05ByIBlcPc6LJmg885dlE6rDaFlTqQ4w2Cj4KpJKTGw4mGsxgwrIyGICY7DcLt3iEKGbUFCTJdd5ePwAZHyrPq+XVZ633TkKgJ3nOAwtXQ5+R6bJukjdZKI2Nt9Y/He57f1ebsNnri6+VAtQUEZfe3obDf6LHS6LA+O/WhCNYaSmSuSlmR87oQVU5iM+ey09hfPvXZkOOqtXiPc+jh9oYv/YU+VWNO/2j3zPpA3ZpOq3T/ZLOeRcSrE9sopIxEI09eshqxAXgcfwKqyIh99bKn7xTkz+LB+4JXJXFnN1s+1NXmZd9lYHDraJDE1qmTLIqf6OW/ttAD8p46+PMh0k/toJH4HFsxn2hSU9R53CcxUb6O70aDkM847VZS/LCwZ4qOZmZopR7XcguA3jxxGuFqA4+I1rHAYRQA5x8Nz+0ifUCZ0sRCzBdMld/cgV7t0x5VG8iwusJsZbXrvxIvfdAHAUiyKPNZQqGYpgutJW8BniTyL1G/K5XfcaRY6erV5VbVm22MEpbTDG5l2Ckwsp+F0uW41bl8hxrs39Xje/3idhDtSSO4+4cLf21xhNHF5btF/gdgkmuf3EjYxoqlhRcRwKLhBV1f6soRi6ldB8VE3H0tfee1Zwz4lVJ7dtbfyXZzuDVijbgItk7NkD2F6GOUSOYEvF9BwdsRw24SyulyD0XqNdDEifx9bson0ELplFiCHpX8yCA+q29hpkJOV0wqzei7Mc89kCskRsaN8nnuu57wZnAb7mXPcSg6laAYw4V4uVkkogEm6shGYSiieMGLCsolDiZvoJIxlWw6nh7u6J1n0etkdR+8oxRaZ/1nfeQ96zKUdE8DV2JGItlP286XrZEp+uHxZEyDXTdwqNNR+0K/minKsNIdv4LJ22m37SjF8bB3Wvmhx2sSbUz8tPZmvrWwrn++1vd2aeRIkg7FhdcjimbYbYk+6bDhSuTMcYw7m13o6xMVPypO4KwGec9UZo9IH8I8OdPrSjDGypxp+dQOytIDCrbMNY58m96ggedXdLTWoflW2XUcM58OTloSN+i1BgdZ2UrsBSk5SM2z6r0UGvmZiusDzoRYUgwPV/3ng6ZJPvQAkhzDdV4yGFTRSd5XENjanMzy2frZ5pNudU52QSKkwyAfWPAb+vhM/UPUXBgjlC5njBTOgBdaDBViCHnDRhKaXZvBTcaKKKm6m4jOutPLTkxkBGoWGun1mTTncUmycU8rGSRE4NYhO8mLxzpJMXZ1COXot8Wyxcedxpv5Fmkfh7cOm+TuqplRwYMhvBRmvtDSe2FloKxOsmvN1Z9fDP5uBF2Bwm6Mlk34iId8vD1M0VQ0IILNRzAw/K0KpeXAsEZda2oWkd+pAp7cIh12LSctTqWNFdU8nuso2+xW6uaf4Sg3NTji0raVLPkSJSl9QRY3as/XpMBukaGU6MQq6PGjhgDdh/6zo7YCsqN0jSo/UxXyKIs+twJHNkixLHyud9krPRz+f7L8FGcYpM66Z+//pYtPi+Hq2aMbVWElbexJ/pV0daJpLVP4bPcqpN3JHONG0JACk95I9cr76cadwljw6V/G0/QfoC3HDV6Llv1rVdYPGnud2LXdqb22XzwMMtRrqd952zGE2rRSjLMFk3/eVIRxMWxkWhqSSIXe83ocaVYcA4IuQh0wf1mdfguLl3zV4YrRTGAIf0imVcrU1OuNUxj1yuc7nNkNzvtt/urz7Wm4YBEIgIRXosEv6MybZ/KVQ6h9QHIrh4f3TGkYE4BN1Tm8DcnpT88ldQ5+RvVdyNo5KCiRizsucBiWev04K6ff/0cg2lm+CAMXyRy3qPyxPG5bscb1uKGKNyBpZmhhJ63whgU+T9VP2p66P9nv+o1kWPMubYsKLyxVd46bUGGiO2cAeldBz+rjFJOOID/Coret1JatKUGSY+JRsUakymv+dB48/g22fSAjlEZhHK0o8K1b/nAHD3219FWRGwcTeHCMyoSHC8JJFfV5ih274U67Re1EEq5lfjSk1CFGcQm1s8D+k4MYR5ZKeMDOrnBhLyF+BTzpVZsD3GoeofJUVqceof++OsDhT//QbBbJ8cz/xuy5nPFCa/MLjSQSFg7M2MDXHn7rZhX1tVeVf7f4VNUCfTX8LjCxLOaVgqCZXyXPdIs4TIRKFlmVmGwCPaPS1PypZVn7cdoVfxON3r9Stm1Y6vdrYnzGD9H8J/jubu7pi+83XmK/Ao9UrlMh3KnmDzkRFN/cTr+I0z6EC3Swk1E4Xo/PJxyrzyCKYcOfQKnv2zFQSmon5+M6rlINf/nIsL8tQGqQgmzWslP0gSMhFyU4KSn6UCuhzeHzoXswmEW8wrzWd8t0G0d4x+FlZ7BAXZp6tNxtt6Y2IzbiHjxMH1e7r33sj29Cf08HXHTHQ471N2VDaZDeIvw+JaRrRSvMw9McBxLKSd1o8dyau+MmguoBjTQ1pViPHUhVzyKoSMeqOXd22nkUJ6l2jFQCFpjw9WLMEI8FIC9Y1Wo4AdmCx/i6kYSsq6tvVyUAwCmgsJsks9aUezRim9CSfRsDx5rfUtSLgejwuSwlfbosKaEu8uv8if9oeIc8KbkvWKIpcK+2zxSazQMaoXMvL9fiRkNThD6etTH2uiJits7XuZPkrYhwSqDrhf2LGpS1ls2Aslgmk7Klt/DBZv+7ILACP4KNmEU02AL7R45XkFmxS8pWOno9kxk4HeYayAk85/vZKT+7aUszvAZG/42gEJBoe///vDvTrEHyE2pLmR8Tv3bUzkcwzM4WvraThVcTo2kpzqvsWD9T15IXQYRjBZjbP10/9CR15SgXw5nuNuS8VrO6s9uvWv6MvCdEnS310bixR7+53jgcrYq93fHVrEH3658lELt/2A0z56YO6p6YNhFMvdkRpRnwXwedOf8vMvL1UOOMhAmb0rh2W+jWywWI6/SqPJbASolN/Yfpt2g2ks1PwFQllGdQYFWClASpWa4PP9/t1xFMw929HawGNaIwSl+558HPDPP3eL1jPG5eR5D0IkMn2gSAm2i/yl8fynwecEPTDUWJPBAyhBf03ipTF6N71+QZiAorHeaFny7oaGmcPP+S2Ca4lRaAH6fJE7Gi9ROGGMo0m8JF4T/+uja8veT4UivgZvUf4SQD6KeII+uL0GFEXpsu6QY3QDViJJKUy7VEqFZ+135Psi1G4G+pIy0qG9tS3uLdg+yoXT2pMNSpkWhj/B5EaQjyOTjBTO1r54ViDh1B/vq4JIcVNOMb7/+eLeq7VzHkUZyC/SS4d2/aHyWQp/PnX29fbvi34PKlx+FYcx9HigzQlRP1d3I3ctrM+c6W1JIQ026ghThjBO+XXc/oUy4R4QK9kCgKteer2nflxedk/fA9NUPbTEE+LVeRDwldsk4GDD4Wt95u2K+uCnEAI746UcW8+/JI9lz0s5roPMmMK96+xJiFfvYPZQgFlqKF0bQ8bF5St7S2xiv4B/xaV4CixNJfVG5AHuBtAA0YdWtCCFihH00eYkm4k8OoPPfvnMR7UUnWn8Vl6zATCOhn3kIlWkwLd2QK/9tsKr5lMDRxblzwV15pe3c8XL5OphnMSEBN0xGI1rl6lhJVA3CqaP9WhpEEwcv5tHkhnIkRo4U/HTy9jLiR5tP5dOyT9pC2aajXVzer6BC4jToosDwga9urKdoXIKO7fqJOLwwht+dwmuc6dgf5E03orgEXBCkHV2NVP1ScDm5v/RtFvfaN/4ubvMyLr1Dzw3Z+yE0SKGms7f3UE3cjPnZBoFN2qsILaQvjOM2H1Fu4W0H4GgnjzxJsjYJ35gCb8zMnVWbbs9CIZ6gHKUoYYiOPpYXjsGooWqyZoTnhLXB1CCJ+6nQSzS6w+/vQStj1IzUBX9tdXw6BNepE8zzWeDRMR5gSDO5Ie9+AHW1n2LpQm65vZXE8P48h9OZG9OZ6trFw5IAP82qHLJwEqFSFS+d3DGf+RY73KzIfQfjMwKvRez7/ILD4cyKL4uuFrObOdeKXLKRrGV8StLXoAE36cdi+S1AP/5w+BUrd8hr+snqBAkatvGukVu54px64mfkIrw4xcHWl/O2auSZpMEphdKMbxFZ+rOWIbvimh/84LOwkQoOG05V/x398IQPFsNK3lGQrE1p5NQG+rsKvIPPgP9YSKsWHUOOpifras8IlM+7vf58kt+LaoIyzYX90AHjBEvaRGsVQy1AqwpHPxGxhKbRxTNk9d7ZprfWD3uqaOrf8O/luEe+WHcWlyyaxHY+r/EVlKgjHVr/PcF+yDOI8+tCwg9jqYjsV+rljXYFdTD9YdgMR21tQMdSldUFB97YG/L4HfQKhWDMUNCZOiT9llmfgA2iS/BOkypqfVvoxqexKnhHVa4aXfGSuixist5HtcpOrxVJUubWjQ/owXsYAjU7an4W90wBQi9sDUrnZ12pt3IqLS0UNev2CqweXchAFQKwwsAx8uxHTCx4sgtGckxtvX3wjGatwsXbJ7H0HJ6EDzFmVRRzDsURtbE7/K/0Z4k6JzPKeFtTzyD4MN1yPEOT7hPVGbIBFIvddV6xjK04cjOh97ptlQP7bq1bVNPp1/Om+PscmXh9NmaJMRKHtIRGHSIwcvrHFjQgjG+3fUtikAaNKHzk0iPZGdOSGXShaS9pDNMbn8rOhGDAy2WAg/aKrxmjZzVIR4a5G173WKzrvriLteFlP8EPy2fdnvOXDZmikhrZtc3uAFMP+ciS/kGO1avSZDGuCZcfG9sxRpGBudUzAzAnl9Bawqqv3OToCsBoc6gsRPPbXNO0pfqGLjrsG2amoMqnDkYyoQxs4XqGhMEAE860i0tb3cZZ2QFOmuFEWIai02X7NYA/kgH3JHUFBnNYP6HV4FgL2a+Q1yQnaQ4bIqNrCyYdbRAu0bGOHqa4LxSx7pEAZ0VUrdHYs34366U76yjxV5mgtNY3AwF3UqEvLgdJa2QWrVi5ggisuKrNYuYtSI5FEs3gXemGYfGTU8YB+VOKdYE+ku3m11ne/FHuKx2COZYTP4ykpFdS38m/vGxjyP2nA0S+zJepTce5nAJZf4s6LmBihY+fMI2SquudSN84+TZwJ0zpNgs/CbbrzuXIbXZ0zemxgooaTQyz6xWm/rzTF899Lh5lyWK1tT479JmL8J6i6uL4sWGffrorU4jRJN8MXbQ2LATxzJ4d6I2UIe+HE206H5lgLFGzKcfwao5REDPkfP55SCKCHXmI9ny/1yEcDrsSchN9A28xmPGTqE9Ofo+5h3kskQmtZSM8DhpLYjd7rUm1CCqU8dwCr1UWmMIIo/YLMPTGTlbVX+2gRWnkr5xKZ3yCBsw/4X7o8Q/9RokPYZRLn6UazUbh3cBQ93qe8pbjs1qqR9MyEFCsDxOMx3P3ZHqDd8M0B1luxOJ3cwkxLzBnwm2pRWAcvOWVvp42Sf38E6ZGvPwcj57/9vvVP1ZfbiZQXNHCxGAx+pjRa6myOXL+eKAKdHHJD0i2heeP4S6LzNwQyZLQ0FiYAwwoYg95VXB3r3uPpW59TnVHnGt57IcOlVWDYEWqDdKNmiqCB0ZtgxFOZDdHpmTpxQ+UMbs2+7ZrWcu3/k2XhjSr3Hq9I28HzBBFezZ4lCpGeiRgAx+95zyVT79XMJMQam7M6e/tHFFzOJoesDHR64VsJjdzCZsC3dsEJrwLJp6IskkzAMYXF78qhCc4ww/wRCljz9qpzN7tK1GRus5ar71Lily1bKx5k1gPY1Rr4N/UUPSttcpH8FGT5Cdbiy0Qz/Ij7rSRC+L+bIBm6Ghfvmw+bw7OVMBd92ueeA8X18s5D7yfaOkFbiArWW8zWta8bcyOfLPgQR7fcwXP2LX2cZQSNFjplcoqPMYE9ZrImbWnz3cOIOtVKk5j8E0fksaSi3Q/a6rmQlmmn5Aeh98/J3VAvCcNlLqxUx3qKpcuFa8Qw29IsF5PdIc5fXqBzP3ivlxH5oR4BuM1woF9yeavpIWKQQRLgZwzQjn+EU/sxaaPERJLnl+CC3pArNxT8pK+Ce8Sx5MvuI0ddMsQKb9CQn+Y9KEwOO61sOQeyJvN/CUUHUQotceEfp+XvRU6ucsTfuTJnsDlDv9U8t80a/Q9hc4gVY28/vl87dPtM7qLmT0+E9tXVP7YzG027Xlv0FZ6MJoFwWTCyvRqO6KR9Au/7ZJgbJJ1NvCIzOYUCGRu3uArqxynxRzF9DJZ4ojMD1y7fu9v3AvffxjVTYY41ylyzS9rVuJHjtYaiYHORorx+Lr0T4f1TLLS8BSVf6Trrkx+xgrdTMRU6F3Xqh1hV1sIaRn+qae4xOiofFGqO4Zd9FUWF9Udcmwr5caBNCvaPR1WxcZHd0ikGVgZWyDP35DvB4mOeOUkCHiIdNB533Lq+fAWSJJL5oHYml9yZYaC0dxs6r0gVDKvrjZS4+Gl8QkK1VzbZc+8K9ezNAb0Ci5j2xwKJUqll7sX9MoexoCD475kPhKrXMOoQypTSRtuAs2xh8NX5oiDGeLqjyh6tPhUf6+l57oMJ8BiidlEha7+zNP+t9wux7+mxEjMtQp6KXG+4rvGMvrAf2/DSedJYAB4uWE/ZxJ03VdtZx8Z8AonugODs7DsxES3RMw7UpPTRFHpOEcY+3UvPwj5QutHuwlrjTAFytuIQ5Cv2EpMkWMR00XdgoK9Xm+zEweLrXLbpXPiRlyDWZ6M3Ozr3N1Rrglv9s5Pfqu+lrmG7dAt8VIiYUib220XZXv0nKoLRaDMRM8rjTGoB/AYOnp52G6JZA1/GYve/wOfnBuP59wuabwHYxIuOUxxHCJjEq0byEInkpPiNPpUp9+v3P/VvGS0YRjhnpxsfMfXgwY1oDwq4nycKbzstQEZ6+Y8JuKYu2eN3lHcNseOJQ5Xab3xvuHXSl8XJb0bKNKLTrUjILKAxy5DYBkjg1zLSqDUuBdj99rQGAjCZNL52zJfo4Ck3CIXSEQLjULIQRUtuVQncTDTqETnTdIHP62FJoWfNpRParYr+YcgpfK5788+QZ6pOs9DNZuylGXYnf/w1G+9CCTqHvqsSDtaf+8i3FOb3NLg/MWKOafQTAYMrHltMOCHPJ928JRmfdGcYM0tI9QFKBcQ9562XN/k0/mbtlx0ZNB3jRFTtQ1m+HIYaoowL/8lIXC/RKwcKKlyuajc6mn8ehEOFJPNQc1C3KN0Ds/xuVCgW+qs3soX5QbWth+oHAJ8YiJqKHkgBZ85CMh0C8SPqF18u+AgB1ts8beXhuzFZk1Y3frdHUSUGMlkEAdyxF09hMrRg3N5RpYy9q7kd5ZkNh7GMFSyn8yaVUzjvupbnxDRR+MIRh5iOoXQakq7UUbdwhvwLsxGU2UK/zYBqDEbryGivUco6D5pg18Hg/9oyIK9y459JRSM3jWLeMXF2SPiWRXnBIAOqWaXedBvd6XIj7beCTGyKoxC4iqWavvVGtK5dZteyv+a5cZ6UnCZViwit0OCNB0dnEHuL7xbaNFWXQihwAFXDJYoP8Q2fX5jwG6/z7+cE2hhznxjp7CHHbBAG5pTKqBpTB9aRHKMSZrVDha38P6Pbc/VEA4qaqGUds6lHcVwUNhsmziaeDFxh3ubcfmfwJa/JYn69KQ+yp43osebV+cg21VViuzszjXHZlq9UFeS/J/uuSXLfEhWPp1Bjxd4RSw4uKlgazBrpuHec0CfyQ/HIUp5kfy8mcsq6p9CFJmg9rfavLQn0EOzlwiZm+ovSFUzrEuC57ZJeNlHIwbrmqs8WoxbgqIIUvN1cm2Aqz8qi9l6BL/U71Hm2y9JhJxbzIQS/jf+XOJMLzWTzWB97qXCTTKsh10tJdNsQSRrmt0Jx9yQ6P2H8Q+0izpFlTcOSrVNSxAiz/uX7UmVjYeNPE+2oqTjWOaMfwwsHJpsePqUUKNtQoB2DMpFFPARWwfLer6G14/GIhNvRaTpGAb1mdB8H0Wmz4wxypGAX7XsHmQWGcWwtfId9Ze1WMMl1Rny/7g3Y5ZeqZH7IW8qvTxLjrgbVn3hMG1+XRrpR+CoYhCoJCmypwnewrOAeDjqD9NOh3fBYD8wtTVN3le4pHH0maG6VjVJWF6jn7OAeoj8LhjI72MPqfCAvWftJQhJglxMpJHB3D9v7SF9KVSlch//JG5KWpd70nqjBvQy6k3piT41e0p6LVIOImRB6u1+bgoaLCmzMfCsi1GzyCebzptQzzVbVgApalfp1f0wUbjvfWKs+q4uuktd8GqzbxsxH84t6vpXGH+VjyhAViVEEUHP34lIklw388QrsSdngTHftdS1sZpfy3clZOSmcci8g8C585GjAmsmsJrZNlUmW6MTSUVCQ04B3rXiwNqUCm+Ufbfyi3ga0yqcUq2AFJWZqdD/r8J/InBZIqNH6vjpRkH8KMUQlAC6w1PpMVkxbmqieXM56SGOeCpYcEmZbIWqqWLObdIqtQFrYlIOqwZyE71gAG5amyMzoCzM5iWJyZQYDuv90usvg8LEzkJAAJXfuMJ4Mjetm/QHxs4GE49t6slgemKxxCdF9P5UTmkfSZkQnDYV+xwvkPlcKDBTxwy0j92NCEmcN9Vxfbxla+Qj0H47P0faiWxqrLtQ3X1yI4sOgUrB1NPxzsHRpF/BNF2UEp2ACjatqzxxS0vsHu+87iCou1ZdweWsCTKLlbRJVbCM4cf/huqOn1ly01j3Kq6tmTe2b7xWSoj/dsV8CZgAEZapSfkGJM+I3g1RKkWzLBJ/HivUerJso1l2g/CVKekhQj3M="/>
  <p:tag name="MEKKOXMLTAGS" val="1"/>
  <p:tag name="ALREADY-CHECKED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0C8XL5DlxUTXpO9Kyfb+JXB0EAcIFNjcQ889Mr7G2EDL0lIxTRUiqO+gHfXyXZH74K1y2nrSE2zJvB7zOpczQbGOq5EwF0th6HnRx9W8oBWOaqrMYwnMDUWsjPYSgDbXMSoXIYXhYYXLDHf8cZ66PqRhEoRI42DZgPZiQiBNL+mpLNGmH0b+L0mMGIVtlWkeE7zFQ0UhxCkV73ew4mZJZljgIQI1FBXy6yl/AvdLErQy/1/dmot9bwJRe70aaWCQ7sRovy5l9Ui2SQng7NNO9m9VPrvLJBIGEVQIqNK+WH0aJgtdWR2+UdP7SfmhSILLj56VvLpwlDHOUw9OGJlyFHYzKVDIJRZA68iDQ2qJDwwVX5P+NW6i1S7vmL21UDTvZBrC9AGSobc90lfU+P7Puh2VxF/KJZxGDUjCMy7E0NVNPUnDZkV69S7Wya+zg7iZPOJwh06/DlT2/a1sA55s66VbnZTJUZOWhYwBWgF6jJcXvf5OZDWurWsOymvAEzQ0XBoPs3+zU+HqbzkxdJJnrtBcv/ic7YJluapXdmu+oaHNnZFU+CleZnVpceFC5aHqjqrNG0fqj+msDc1Hl4yr93DIdgZ9eMG768x303EAY+ACTyHTLOgoNTpkxl5RZ1MJeLUROy4gHdzaPDvo6D5HukOcdz4b2xLbQDjeceWSLTDGPso3uNvXkCCpPc2BSSXI4ZenoKC0x1h7SkjDbPRhWzOOZBYKCymf3uOF2CzCL5tbtTUT3zJpkvwjdoYPWS9TMqj2LUVmZHr/Pi/zjV+I81MsdUno+FUNxN4t+QIG7kayV81uh13UX8FPYT379e72Lm2tNiG64rN6N8+8IMFOozumetGKs7i+CIZe2D4zpDt0bqXuZFcaGIPAJ2YbzbnIQryJhOzru5MwydebyRI+0RXBpBAYMEZrW2rZrf+TQAcIAUtUVpZvAgtYLO3lNW7JWfs0eJgpu9D6NK+YKvPpQwzgpKvaMD1VmEQdlH/Dn+ps1n2EoW48wE/t3Fhp6meOuI0/1AWheYyrHKnnvhjwxah/+xfDByFzrDCs+CEJdPscmF9oYqBTyDFuq7SzzEuZEFlUT367/CWHF+KxTqR0Yh4jdJXxb+N1KqcyuDyJiRgg0XySOemYJ5ODOC3fDjXBw89jdegTpt0YAak6A/CQ4gNkimDM+3yrJ81wMTq5rei72j93ffFoB6dWo8ODuWzvATPA9Jt9la262jlLZEhUJBFlelzy8nrUrqzuGKUnKVR6o3kbe14Ifnt7zpRGwFUOB2ZdDsol8LqXxZA62+yYWyGRslwNPN9zy6UUTh3jo5lbYZst01PM5Km0ER+xeG1iuWR2gY33UH5mh1bcpGvrMILloK3Fo4uQ616Z2BYG1JL0Fp/+MBx32FbQxl7Hic1lP48PaBO210cE+Rzyr3pzTCGxN1nYJPzI25lMj7d1MCGOEj3v+Kzc78QLcII4bKzh1yAioZdqfLa48rvmEV9Od9a2G5R2nTehSTd10a9AbwY9hJkszKWEfYPje/Neg/gWtxF8iSBb5L04ZaDByENfAe8EC2ihUpG9vlzKfPlkSEaM+KnYVV230iwMQ6NuQkrVT9+Olcqzjq9PZ7GGoX4m36pSZbPzKsHD8GgQ47Wc5w3Y2D8C1P1F+dBWJgqAHui8cHIsQl6rROtNVjlISss2CL3GjqHBMVr5sZRp1Rl7NGYRsEYy/veNPAnQfNdoPU9VlePxzggB8bCCv7S4a6iEYDRT8a8hx6tCMTNoxsfLlaRVrh1CwEHO5U19Ks8o4BmcWch3fSImJG/iVvYKL5LeSywOar2UZ5EE0z+ggeCKJfLNE6BESFZHBZGAgBJ0i/QQVDt43q9Wycy1BgRF2epIVua4DRJBBkxOlTFnNWdCYVFw/d5tefPFXCChdtOdRXALZZ8DUVBO+XOQG4iSTzgLzPiDBxm/QE90QpFMb6W2fQmIODFJdgN5Nb232kQG5EMWdrb3G1OyTjgyVuRuMOnZVU+flkKq+viyYcYa8J3Bcl1F6g92dNIKOvG12UURxGKuMQAMTXLJbaRm5B4SxTXiRq4ypWIBcAGiBjBbH1qNXRxTpYMzAPv0Xbbsl16KDpCMJv/719LgIV08eM+goL+hs2n/iXMT5pCijS5A1O5sOph8/tpoPpysxquUF07D3hneSb/YPeKV7lUxjh8zvvwfaDWr7vQs8omMbE7jpTVsYzmGhITF6dsYYO6nr7OYe6bkf1qIi+QErTeF0RpjbTSH6g53F5yUCktdv6Kqg3hByO2GEzOWDKhJLS7Ap5hWy4vPSeAmS4ErRZBcGehh2BDtcO90w8Pp2duuokEr396ZCsehdh44o3+s8o7H719LeSeHUlaQ4ufoJLfgPWPiFcvxcVwYZRKhoGJEb8gH6BjJu0XrJsY7lHJIZ23HbG+YLOihYgHz7WQHmp6+cHpwM0gU0rRrabRlU9Dcuv5s6o3eIJ//CDeiZ4Oh0dIUoTKvyo01QtxWJ5JgXD0lmQe7XXo5NLSFAb50wzt/M0K0di992hXmeOw7n4tOwehP6/wDzI1G8JZUjQpg98JiRrLgkVooFGFvA6buytMRFqKHyAjGSlwSbeixlib4PZ8ssFl/gZBWh7A5gZANncRfDTony9nsW5fh/jhZmzYABUYI4tew/TczpzHm4ccGvV09QDmCvJtXFEUUbCuJVVxDpnmhxh+Zv/Z9XPN+XPZrCbAZX/8inaMAE3VE8C2TNboe8Om1JUSXejPH1zQatv4MxFvA4qxw/k+Sj/ZzhPDKGxG84Dm2kMp9N+luJZkhZuUIu7KB1DnKuOSJyALm22jQ/oUz8LZ0YwJ/tY5hKlT+7VNwyIKhPbz6UwvH1zPTBk1ZnHVYFCVyjLM3+9vWXflmd9NW1FU6xJt8iUouTGqHz2v1Ju8mkgWQd/2ESh0cnp0lQR6FybUiyGNS3M9r09LLuZOV/8D1fUMAQVwraXkaNuqU/8lDaonuhmHVb2s+HjSwzHPtDI5w3dBD0wokt4StmYBLLxilgR2H0a0ctWMbTseLCfWz+++3nRosXf8poFL5m4UJlQbp6dMwgXMlvxjj6djXy6qaMk1Zjof1mVRG/4RXknKWZeqRUHC5vNltj9OqeTx4qesCMWsvK6sFkd7VtQOJm6U7+CWD1fNzHOc07qGzkkZ7vtT5LUrlFW1Ls/ppjNlSe0NejM2iW4E2f+e5v76Br+rGObM0/FUlk4uLaMqYydAA+nDTX8rfX5cgUTVViUTwoUe/tikhgtXM+BHYSM02Ds/JKt2ej3cjapyBCuJXg87qWrb99bpGnQB9yBJjJdUGpafDmBvC9VaLN5S83RfjaGd0DXKAyOJCPOZxLAxmoz+lcVTHGLWTfw5UzXkBcYFpmQ+ZtH64zlA5DCAwt7lPGOeMU6Ql0STAlRU5Zt+O+Gr4sE1rDTB9FHlOxIZsWZgrlcNeKJcwy0LJap5sHDK8M+CXJ9IBmXpF5G9iJWQsIyCRVvC8qEAdaAcR88PyWkd4B4pyfw3zwV8WGGH2qAlI+MAOq98aYTOEhqx9EfH0hPjWcaX5HctdNmmDK6kJ1T4fk4cgfj9MkPPl0IZpAn677q+jrXSo/hg3vqxCKZ+08MY2p4mKK0TU/jhv/EWMqk4nBYcmyZ2HYFM9GqSDYLqXPBOQoXjT0FIGV2bEbj7vvjNvH7sUZQ8MflxJrqkO2PdYAIplMyJGKtde9ICTE6nrlNEU9m5EuG0IQpjQLRy/B8jnwRMSul0NUuwpN/UUieYPRfNQu+IMzNgePUL5lOs0cnp9Ez23Mq5jMzUoAgptfafflEzppt20X8+LjZYA872tn1hW89wE3w6el8IWMh0xP1p3JhnAsoJsi1MOUNfOHD1jEx2tnvwYUYlxTTsGLptMhanwNlmYq9vouJpmP8a29iT5vPhWHMhVT5F37CpWkH+kT0TDNkw2mSrxRpshHYw3QQXG1kbh9aCyriV+q7vmaAIjWi+aqJwiwq1tGUcjiJf5/7Wp4kgInL+TgKvrfDCWzInhbZzcKSnJ72HMYWjrWq6k65EY7XBHtw3oWcweJkdVHR4F5zl9ZGzMyOSeKJaL6/j2T6aLVt2O8NLFVthJlCUgDaGzEZXlsGf8L1qkCM97j/ykJ4rsS64rZekHimgh8/Fv8svpvad3Sju7iuspPxMSaFVb7qXSmU9GO6o0jmEOaaekzIAh49EetRgeq2phDr/ro9DkaR+2RZiE3zNnPoNR+CGfXMmsonzeVPCalWZAPNoSCu+i9I5b2BrMKDqr5CVSRSXdajEextLuBnPQc5/qHpaRCiBnlUi6NianSt22ip3S3oauqJbei+jJsTSY/PW2BqikVExGLtX2AWTWNqSnjj5m85r/ZyvkQ6svfT2o5ZO+EiHT101YDN9JnL7Sec9WhLjxj6f6Gy4AEuIZvBde3giS5jzJJzy+zLJeCyAccgzvJfAQefsxnhnXGKBIlPN3/2DFAFg5fhH5s0r/ygspWcs4n4C0j87kSdD9wmFIuDGRLOsg75m5qXmfqi2DKzrvGnXZnGHGAPmw69tgvfWJy/OITRDMckkje2P7LakindE+dUV4WBrIiDwdqYUB6xPQpj8VNIakhvGvAEyDMI9OTRe7aXO1cPIpBYGAPqN+rN31K/Xk1GKJapb+jQ+JECrCAHYwiQIp8ZEx5/Z+lZCgdZog/nDWxPGCCD9HHyQMGCOJxL6WcZhQ1s3Mw0s4FEBtRYSq40D7Wd5/6om65Dflc9kQeAtZn/VCkjDgTd4Vvq5toqNB1JDUSMhe6hPvQ8/F3msw7zDzmugvoMoHuubx9pIFM0xfYEGvCqXKiGodgZUDWBe/ujMFfe3fSjO3lrCmqWqZRr+9VyftjPx42ipo9sQbWGvUBSELmumLvLIW6H0zu0B500wcLWDmN0a6Np99H32DxfBUOpOVOW6ISEp5DNlhUIupzxcUcqrb7a1PF4nH5zMEr44zhjFpjAQ7gQl339qyqTmBEE97ch3L9fA0aeNXDj/rNgNZ2AxQ9PN1EI2vyRxxAetsEkGuulF2AGnIIp4R9VL1HUgWrIDL82tGJkSJGslCFgNk9afWqD2NScBfnn5A18OWfzYBTpFW3EYmGcGFtwTkaRedyAFS2FM+4K6L7JqM+xC0xI+jrkA8XafzxATXIxita5pwsoOnD1XQMMP3wb/4aDF2jd1WjbuUi5fGAbEcZGgBfGBUBxvVgKGVV+TpT8lPAnqaT1I6lHTegrtOTIUSTnBjtaVaUheR3dW0D8Kjv+4V5m79kwowT4iXzqM6UF1ZZmtz2buF8MEUTXUpMpzbs0SeZwxdRNKl3VEvx6jCxRTJu4k26m9H9qMHX2tu/PVo6wrm+aHgaa+5XlX9tJ6kw19A8U9rYg8r/jBPJWmSPhh6ZMKM7zD6hAsxFuKXK0ueIhBUMARLmIt3JbnOloh+TsE6XtAlBIDiMHKFtQ1P8jcRFnLL/A8NdDHS9BvVMwQemvgn74w5fiLF8PJoUZ0Wg3zlm60VCfbWKmpYZsRNd3iIGsL1/A3hQsiRzyMSi8A8uwqNYyfh2E1lQ6ZcQ2xAZPxBaStghb0GdwPjqAbFUo0/VKqBwjmuz1W9ps9wndtMNTk9VIaN6UCSlzXgFieKuDQW9wFfF8qnBCExpS6lVCWOQ16hwyE+8JvFxqjqOtRfSPtxDpZ3b8KEoq8nM4d/3TTBDiZr1O8uDtFLwlhYyBR6SvNR9gC1CUY1IIN1XlbZcWn4PWu/9aWUiDDuvJQNvQZHdD0N5vhANaGfZ8xnF6cE5NKc1L0N4ygWFlP4BKWFVvlvjgH44oqIFU5Qd2EqPKgwLg0xqGj/2AwMgXwcETCeqJA8DVBDLAVoLr6hXbQLJ3MiUJ/fsRoPF4S2vcmOdbIshx+uuNzgWxDjs8xCZei1Ky6xvtK124XKzLx4DagBvWWHoxRrX9I08oR9Yx1yEiJr8A+q5E2JR/TqXU5tIj/jvqbT+DR8Zc1uoGItUxo0vLUXT8TFzO4OdKN2fbaxoywkdjwus1JkQBqDHJwWTm5MR2SixNVVJqGai0kAX/+i57tjMdua9BhnUqwOvczbtWKO3RakFiwGfScU5H+Cl6PeUbWMn0NZOc6oNhMbc2Qn5w7Ry7W9h8aAH4St47EI11CnhSi/ewzyN/nLsVisli+NkOLRrVJsnsHQGGSb5Aq2SCeig09l0q+9nJQAr4UrEIPRIbNVgoPrixxAgXj8Rglb+DTtT4co725Qon10USWgzxkV6cEGb6NE/rXvSYjepYY8geKitobXIy5IItWcBUgMeXTDYtRIkWH+09/oGf3k2yF+DKhJsLo/DDdGh/U2i4Jkd0QQ3Apqqw46l1Zl0TWkTVSBOj4eAjxFzVYDSA6a8KttqA7TMMff7TT2DeURj3Wo7Zylh3YGB8Z48byFUUWRpI+aIv5hK3CDWgeCQCcCNkZ4gOgf2dQX3hwanLJN7qMRdJ8RXR7wEedY/EPEnfPpu4PgMsZ1sBdal35DB/5MqIRxA/nlwTUrzY7vU/Tt6/RqQ7ZGvNgdK/H+5DT2317M3XHYqbmS8viLPci1iaFbgLKp5qHjyoLsVd6PPf4I24YpwV9sXXuG1p2PPobdhkQOTlLYqugL+hVpq8dF+QF7KI0pFzWSn9zbOMm1d3oLQbVA8+Hh9vRvvUN8xOoQENWtRr/yCeuU4NXjWKPVpv0kjsbSmo9UgAP5RGglr3hNtRwaf84dn73r+dup21mewt3ehMTyYjXPIqcJ504dLneUrNYl7Nu7i/f9jygqggjrPQhWB3qI0dRNNazutQCukgUgooMPHM7vK2hjP/VbMcdNIirujIeU6WT/xZu6a30kVrYi1UD+gT3F+Z8jOktGJR3Fp7qKqb0Z6L7bEQoVJsstb9PRjUyKg2acEJdI/cycGns9/efbzvHuZH6EgRD4rvF8/TYK0xI5W6pnzQVe17pmBmM1VtPk7EDjVE389R92yxZgprij9ipkXumN8XzlXY4Z8JXC+ive4hyHcWPSeRD6DUzDpxHIJgA6FbUtdmHco1scsCcF5p8AcMgJARAU60wjQAZYAOD6X4g0cR0PLH2K59b4++fERYUhJubd93+tsdZrYXmQxmOWCgPvDaUBbUdt1F3JfXV7cVPMnk6aMnfySbssVTUKlhM9jknOSVD2Ul74znL4xR41M49pwtov9IQigYYBi8KEynIF7j5doftUupg6ijnj17O6kTdaBAyci+9HlLGyEpDGEX7R/+0/YuV3iOGo9yeFbOZ1mSdTWNGI5ex27A/sFSbQne4q/wmywgUL+upBbFfTK/5COzBDYLukOgMBdyiasWK/b5l663tz2KOD2pUWanx+aHnkjDwXq3XF6cbFHnIKn33HWYjb8jXchec5VmYTjY2U77JusJaHR+GMa6ja24npTZm/btCfk0ZbMEGc8kpl1Uc9268fFEkOFpUQ77N42lOwndTJ42gvJOp8qLux2pVAQnqwl9TG4BQOqMDRh/AQROe0WGo7uoRmrsNyPwlHzrivgaP01hC9G4Y++EBCcGdqBhACS8bRH66qojTIgi9oyYeQSeYNuurDJiVObQ3ixa3HcuH+lI2+IjPrB92NZCpSIFb0Ce1wH//tt+kp5RI6eZ6WjLXfJ3HdEKzVbyjVjlPzhL9Muub/zJG3SdciT+s/JZU2eC3dHlCsyuVMOKxuRx2O6Fkk5Ml6kSM2UPs9eHmtsd3Mt6E08eVJ8DAgJodN/9d5daLW7wIXcyz17MVSapDckt5mrtNCll+Db+T1WZhy/kJRqHlcZEsOMg077bkw968xnF4WJYCNp4Hb0txU3P2vNs4VgiCFWiCBmf8sN7JaM3STcSb04KX4+m969XxsIAiPFuC9LP90YndMKtCiBKjcWgiqoaIu60KqEIdFRCYkzJ1EtEECB1qbyP9br1wSglSAERg8HFXceY2i3E3ewJetbyJaPcemnGuPHXH2ajj1n7Dz6+qTMCfxiAaZ97cejaVmqRrGbG/uMA91vropSPYiA+RVo/fcLQeN1v0+I6l00Tu+2Awy4wkQ7q9GC5b+HxrDn5+tZnmkNdV2P8NFwYmzbB7u94ChpkNWQaAVLBkodYLSt2093SA+id2DgQLxragNVFhK9IWdwS75TkBBhnPHziBXSLL5j021vHZJ2eUdjCCEpnYie869YL9agLECyfP+pcFv949bxiRuTR0ATr5kqQNaKDtviX1geTrNQlEZAMmDUZaDkBIrfOznACZFmdPT4qLjroSniYzDLah9cV5hlhfojxUllhhtx9nRQwURi4vz8YjopjMO77DNG83uKrWCX4sE1KJf6pAwRLIU74d8Aa3DqKgDfQ8jiFr0uSYhLIRQksUpOxFGB3FKiYYQJ6bS3cw9biWzTwr32jensEVOKDOHAEZUKTP2gpkegpBsZF4/sQfL0IIM3+ytX5zCAp5GgQV08BTnRCMGoQLegTiMG+xqQb3zy8V9+CUUaSIm8TMOPT1dxobZfsRtDZ6GC6TXfTpT/TFlxebAsfbmvGD4UnJLtERiFuoZNOIYwaaBXt9KyvZsIOkyYAqq1+0rIw8vFJ90iBDAo3dTb6D/7c3DTa0Tn8PJjsvLmHL+grWJOgGxPzO1nC8LPihe0KF31CxCl4Fhi71vni9ESYj5USPJofyi7/aocFcTvQL8is4Jw5L7amP+avV2iT1UwATPpVZXUTdT6ekQu/ANten4eBz2IDRrz6hlJm6q/G9k3OKZeHlTAiThxpQOVzcqjdBqqLdFyGoYysDLxwr8rdC/Tzb81Ld3/i1ULFSJ2mkiS+ei0LoXELpthljRgyyQ8U90K/rI5hiisMXhGnWEzUkgcoWxxJ9wODbBBhSxoIbB/PgbNpGhw9Jkip1ovL0TxstqwZH7HP17iORz9OrKeAl3UPxWz7FtP3PKbvu14n+0kXLdX4gQ9sbqeeo9LrvAQt/I6xtmmtJNpR9aDFLBPHxmcwHgkP0g0LJm/lq2jR1+mbJilZ42hG4i1eLvB2ezjcRgFS6AFbqT8LDJdKDsJ/p/bEYznEVRKlJmwz/JHa9EQkVHkRk2fJRTcs1DGPDH7RHd/y/DtZONjpJyfxEqZxmg5llXRJVBqdxxnyptS6Y0SI+W+gtF4kN+nQrI0JimuaoDQ8oCEJyz14Y6wllhxdnuuIehBNsj+el4b8zW5Hzqc1cILe5W//La/bODTN9X3hvCYMnuUhJ+hbpao8z5YK7pPFfNSatmYB7RDXPXwr3pQA0f9H0y7DM9/nloo7hIxlnBvbAWIu5sUD4Bd44+p2xFnac8EL0Okw3GMTiHd23fdlsJQtE6Fx/Sn7f5kV00w3+Yn+MloNhoGsskWBEQ3HQtErrJI7u2uV0rnM8LM/42JBml4xODVveuE0CoEbEMFhU0YFrb3YKo7as9m9JinZboROdFyOLkHS+eCiC7kD3snX/plF5S3UCxtBJuJF/QlbEgwlGqnmz7hYzq17ZyEov0qxxVNCL6qpRwSWk9C5qYIhRt7JDms4NN7tAuE7dTuv/Ti0pV3meYgFyCe7xDTIVNy1GTqbnuA6evCxiC1m6c9GSOL+ORNw2ja8JbUdOpCXHe0i4JbTnL57EIuJYTxbqIf75YomUsGaupChXlphoCUX8ae2eloAYGSRET88K1fB/JUOOPhEO0lfzup5KxX7GfZmPNTRTUupemopFNMRhikDH7ZiNsUxOIU14sWK67Lpl+jRp58UI7t7OxkJGLhGCLYN1voV1iBnEoO45Lzo60znnLY0xV9DX+N4bbVlFt6YPPdFq/0A+/nFV3BMYVsdplL2Pqk5exyGH5EsamUlwAavUCT4SRGa65B23MvnLc1zPAYGGZELZFkfYsIPvZfj3XgNN/DUDAWXxXGOENkFlVXf10Q5NhhqWkMqFGr94HrRhsM2ZDWMdkbdLeeci8YbtpRuRzYTK2J7XpuG0mJguwkJVCZPMirG++Q680tzAp4Tm5BrdZ1SngHPk1JaxXcHqnyjo81gQreQ/IZgii25LeaSCTGoEDdJbTnmowehYiPY92LDaX1x82+sPSqW5x1usi6RJ2hWDNUh13AMujBOYxX5gkYtypE8/Tl2aOIfy3ovlDYFb0p53H9m7e3QV51s8eKMwwPpJMh7UWx5gTh9kE3pGeDgCy/j3201paR7OsIje3MnxSYD4v435zjnhwlXE2wutrOUJqDSKgzqyQFBCTKgB/OIn6mX0WcTJ8dlqpa65MbDl4nTd0IReTKBDaVDFWYVfKzT7iCqoMVoL0mRFV9Y/XJZ/nB3bN6RrUA2RbFV26b/1TUr2oZ0q4MWpTXrj1mCgP/vzE6FpBz2MJCCf7nhHQV/dyzf/RcwXAY0YZM8BNNbZi2OL8FN+bYqsHo2BrnzX+hHwkhV5i79RPcZ9e0LL+n5uCaMUlx8MhWnnqYXukK4zRvw/VGmSmT6AyltvB5Zs34StZ6KWT/3aoUnJomWJz773PeClPqZfri2X7h/jrMHghpF93Ji9LVtwc0HbDwKmiMYtqZbFDZXfDFJ/VAVBubpYSkhz56haD+k/FOl8IRWUlVfSNds1mZA0acqdScIJdB7XrZHAf4bAzozZZDz/WT6+9XshciVXoafj+6cx7BoDaOJgN343TOdsRtu33KPbW7ln9em62nSC5kizt8878+v839I2s1xVM1dcAGxkTw/F53yzGPg03swLAYGGRJuXjU6x6LrSziGXI+6WEG+Sadhc/jOUKtP7lveQ/hDHOCHE+Kllsj7ZhMKYoQ9pknu6CzOvuQpZfi/3HctPkDXztulv9CG70aAQkZfd+U7fLJWZ0qj1NmpNSwQkEFoSxmI6Sp9yapJDkPQlnTglxbMCzd5xACzpYz/DsUjA5DK0HdBfoexaAInJefl9LAEjr8njwSktmhoTLor/5AVENfGJluG/JwjXOnl3R488UfTWnfZrB2+ogIwIhJsPPeno8v/DGRARAICcBDVFhf/hruqXkCiOGioYyngJawylXZfKMOROeaWKo8Vl4Ox9RHNG9TZewZeSPqPoZ3iQKISkbkKrvGbhnG5Eyxg2ggvsb5EPR7giCLlWIoW7souzi9gPDS1kC+/PNPCdMN9ngDcPbs+3kRBtkXKYORntkEJ2JpaFGZHNmkDetyQ1bAMbXJqoXbm3iFkdpYMJ4ciTEJfeRapJZkpYN2TZH+JVpDubN78k4kPLpQXG1z6C327AJXjPLwnuRqHmBdFP7GmYrjlgLkyxxONsjAZRK2Tnp4E0ORMraffdNUzIkJy0k5wQk6tQqK3HH636Hbbc2/KQ2ByHnAfAY1ZC7cP7aMBfLg3+KuaqfRF02knfjtl2OSId1OCZhoAtazqK75AVU6bC3uewbuDDO19gIElX/Zea2p8jJYdf5egBnhiT2FngKGPo1X3ohyhICZ+rHm+aaHKA+2ojha1RGCyKiyReEAodDGX7WvLG4mZzY1IWrB1+UwsPScJ7YB5Yvc/bb0dMN1YaBtEPeG/61MR9tGkQ2oxc51y5UyHPG2rFQPgR8Lde3LApYsjnsnxlFSpFyyGENGEwn9xALRNkBb9O1Z5TrZGMo9DOyGYbQvFVTNgMmwjcahX0Z4eBCHl76rSbB83Z+BRHlwloW/C9Q6ouYWF9KTftbFt2hmHIaNzoUgKn+8qYrG1kGodN5UbQTcgvEY38gv91uiLkjONsX9fw6uZ7Oz4NAN9I7Av25vt2fxwhqPA8vOQK7FIjbANf4Z4eWU29Xz3g9HnIGxljhbNgN4A8uJU5u/PuTfiED5J2B1zUeMfzaKs9RcLHyOm1mTCN+Vx3QtgQCrhfj93guVXYmQX44AG/LcTrRQjgVQiFCN1mX3uN9KtxRmMySbEBZdnauFz05PBcFj7xLygPmT+pR/tRNwG1QYg3YEe0/y2/OVkl9YqKJJKAt58QQhOudu6qS/tiHYDzVuMPDOLZcfHTmTEW4VC4dLIsDpr9Ss/a8i5gaMye6kKqQSpx0anRLxp5qjC0pFqXcQpcAjNIAbhNtLUlapYupDCIQm0GnEybGL3eVY3LX7VRSPilNPOWxKyurY2d4zqHnKTK/vafBMQndHm/x/deKPProa0MdsaWE4iQIwYhzGjmM5sG5HZDl3cnwR06Ko/RmW6KGYFL/KuJeLn3rI2+DZz126Rvt8HlCcwzCuY+XrV2QGfjSqzl3kKcwiHLaHvXEZO9YuOWLpBUMa6K4BC8tXZVcH+2GaOTbT1ZQ9whxcBDGycJRkFUlLNfypyvgz/+Jrd9+f7OW5dilVA0Iapwesz2nyDN3+iB//TMrwjDvR4l0InvYgubDqMlvC6+q/dB9JzK9V71gkV1oabuXklMVG4OdOtEwref3HGEqy6UzU2wsKrhzRshmgr6r0wou6ZeNYY7SbB4qNWuG88yquccaaTcKkNNOXxSjGZS+VGPzi/krHFwR8KkxwAgBwuNxfwZ5b/6OfrmSd1060w+Bgi9tX7MYAciyeUJbeBVH0bxbCi2BVA39dUkj7gnYiJvJL/KiiBMyFx50lK1em3+smrwwnjSwgC93dUj3q1ISvrsvdnDrct9oVv8XuaxocjzWbEDJ0Xf/v1dYb4/v5WGu7NXbCifbGIKgcTl26XBYiz225S/luw80yCb0Sp7Tb/GQLRpLDJQiNqGJ+MT6BvvhdWpUX6NEtcT2TAVlcIVj6ZmfEYfc9qsQPwdTXFWxnLVYsPMgKLg7RKn99D8UuYR0Gp56tev+WsGpJw3ycC7Z7fpqtqWzOsm5ULVzqBmnTELE19aTKXhXQcJBI9hOxRoPd0vOOcS/jkpD5bGdOq3wV4L5Y1WfPSZAnyMBBV3evLVe0doybHpwlvnUNEHp/7pZ1laUktmLeWsE1WvE8wwEmD6dup+6d2ZGRkSaPjupDPOEOVTRCpH758Ge7f7kvup1jTze6iWFUBdFmkuGeSLCsiI5qblZdvdROxoFOuuIklWLk0uTNzgnspcG97N/mhWQCA7dVzWL3IESJThphnPxdWMkvstwAab1Ku5vJlGhKfT5wSqtcvxTk9WOzJu2pmgi7gEpNQNCFXZLsRJZVLkRs39LWmbddPmAky/7KlQEq4RVgWGFKRuPSz+rFIz+D1ij6aMXhqMqRtC52FAxX8d/FIYnG6f0tt8HqTEROK9YKwVZyPQ27bO7rTNd4fx42t2Mw0WmqQ1vmH3YAnBw1OCGXD/BqSvM8n8Ft0kqnYXMhqokMp1rD/rVC7DzjcCgAKQhKzhme50TjJbWwvFUXUxri8w+ok1hdGWe1b+ZmMM4lCkvoSlKXNwFx5xzeQZ9wq+OBGvJDTBsC9FdORDp2BQj083XHCCxJpP1H/oxcl33v6iS03I4HmsTiX9e75kw6vfRZSWUTG5URUu2McMRZ+yb++nvMoJISYv8j/Geh1QUVTYHmf8bKvWI9rxZRWO308XDbC91xHVEDhGuDvGEUwQZJDbnG7eMX7qE0J71jXyjyeKWmQV9rkzNuv0FF62SGFDQXaGjbc4vsnMkxdHK4fFS7XWkcpTLK0NIUosFdb7auqBB8ZseFXds+Dnlgweo2/OX8Bca53NLdUGNZeztLkmN5VbRrF3LwpS8JJIZ867YZ0umegYJdZvFx8iHhE/kJ74vslKBkxyccSqNlZFevs0ZZ4Pzi03wpAC/OkWdspyRBCz8MRVtmv4w5ogQSW+ZpgIKh4WUHIzGbDKCxP7obNHtsjjdMbcoj6f22uoSGFtUnFMSAlMqbIuxkUWcjsPibI39DSN+PlNmkt9X1uhyaz2uFPuFhI7ZjqalbbB41GvBve7gLMwvNr/VD4KKaXODadyQfKfn2k4A29xE+xc6rc+JGHeAexmA55MvCgU9e4Anqjsc2EJv2Ky5HNZy1SFVNqCYDUNP31CptyJAEuDchFPhHCdfAEcuczhFhHjf8378nwzWS5zAhhx1wEb2oF6dAVwyoFmH04QeIV57QGcyk34A0kotw3eI+D9Yt/z1UVcFJAhyOMnEMIRu13hCzelnoAhDyj15h/Qib9XgtgLf5mOPqCdSDt+dAQEpOHMbN3mBWGYBvDBJG0C3lJgoljzYCV6XLVksjUsIzB5cW597TfAV9ldp6fi7TfKzVZKUvt+Oz1uCnghzfXGBmE/boIpl6JogLUEkx2JTOD4j6VbUTdgPtvsskM85gYEwSg7gdlBwSYU3Ruxrvm4UjS9cgaGbQA+IlZj7SdJrtDKV+5jSIAXBP3i9t/mElsV5yu3nD0R6pquYQQoFBIr97QYGn3TTrh0zCRT2iz0JQqvV0Cv9sGn3lQ48AYk/DY/DrEvsls8da6R8El/n2a7YcWxSZonM5E9QySJtqeHdxgezqDC7ul4DCWbCxAl//XjvYyWvQ577e+Ep9gIK/BbfF4RC9QXEaO8/nt7YZ66lRa/N/VkiqYYxjXx1mP/pHztEQ00AhSgQ1xfYGQ6H/qi3BEus5fgiksJo53lqmt1NfEg0ZEYmsI7/acm0J3zB5bPZdHfq8c6Ce+GBPSJ+dWv6RRcwLlQ1LRL+MOhkDAjQ6iEuk4rNXR0bVmrxcCq9fGG+7fVffnShxUk90etnqiNUs+dQV8TwilK403laJ3/DwnNTGTblNOAnp+Ot3opl4YXp6EzhsIhbAwMBFRG6I+lGbrWdrgW/OGxpkzUn+uC/ELZaOQdOrrvPlcb25f04GXf0vtjT4zuQ8xQIukMSTEQD6zt23cJWBblYgndOH4dIhJr/PZ23WBWjsEtt4w0WPtgFC3SxS/mlZjuKbYdoy5EWiWrhALfIUrXahtl4LjWLlECVMCRCKo6trk9MUHCRsEtqw4fMtqdabCnv42r28bbgbttaKMINg1I6Egr2Q6YUykvqKsFjYGeHwf8eK2fp5c2kO3quP/CBcINlVkTtFinf5Evi84h8voHtSuGWI1wpOrPXxND28uPDPaHtonZN0BIbRmk3z5NeU+zRkMJDu1lSglneiMGZb5f9fSvjoyGgZGRZ5gdDxS8rWJgqYL1C+XQQaWKMxdDRrms2grXVDfTSJJFLd2Hxpd06oUEccmssdhJ/MIoOBQBi/8Sv5zlt6u3WShcmmQYAjn2VitpfuMHNtW3jQIB/q8VK+2uKxyjoxI4ZssT1KHeRRii1sUNW6GLgOnkrzF/AC/m+5VNwptDrZbbd4uri86KFLTUDCB+IQrQySCZC0V1RYib2w+vC6iSGPUfcF4Ghr4N2YAryDZKLRu8/2Qk0vLQ4CUQAkEnJtUAJp6RU+lKJcSFz0lJXyl0qy33/+jgW02wRV3JWs+n7p1/mF+kuCMoSj6ZOUfTUrjx2MciPhYjmvMd01BdZCxd6vYGNS15JayEGPL6yMKrwg4lh4YIayblYrXNNS43gmmpSDt6EKKVDuPjux/yE3eE+dRndMhgCEIFn5al61vtgOVOMVGZdtBm5tkLzJJ5HdQV0zSkly1V4Zggz8ObSax3yxrfuPXXmkCjyQvNGIspEC+bjUiAZ6wsiOZBfDYfjAucSfOEuDR6MYTDmo1jU6GFdA/Vf9NxLyZ4+rYTQGb13JxvL1h10mQ+OPf4za5RktPdW1aQ9u4F+5Y2DmQrwN6/jR0hnOFIpzA3louiu/5ebiIIOtMQm/Hwa8qEkdZgE24KPzEuYp8JI8gCm7CPy2bzrmoQMmBRcx/VHBIhI9q16Lw5GnwL7USbOOMncy851CMgk1uhNnlK2O1gcrE25ACrwXbsWU6VbmhzeQzNs2iUrDsa8qfc02llQJBdTJGLXsBArGSBh8GUjefxKtIn9uh2YnWwJVh0lWtMVMIvVns5VNIy8U02lr12iKiMexojjyCCuz9eaoEvg/6Cp/85jx23o/NlDmcgw/Ny6LNC7m8WJ7jtVeHofd4VCXfMFOxlUCb64+NY8rY29Z9FRMRxUvuII42oV5uhKp7U3vuwriJqDdXX6i3TZPAc8x4wInrTZz8x+A/OqbAbpCxp1OlgqeXHwgpd8ocY9cfH4pqrDtEK0y1vtodVYbfe882SbPdrDT/2T6UKKSygN7DaZV2Iz5I6Ce31EJudtpucmsQBF33RuET2g/YwWIjwzKKqH0xKvPbEJzKFkA/VPYUKmlbQv3SnFoYQ+L8Ot3woSRzxVKxHRxBHjPPRV8rZcd2npU+3xUtC0JNJoWfnMamS3EZC2/TjR1KIduVsss4aQsloFpQg0yZv/6/Cc8adsJMDAbZjSpR31fsVPAfWGwdhgEpnzHdi8d5a3oJ5I8qnF4mwDaXR0ZLWaKj8Xtic3/QISfjK596p+jLBcjwHsCKZOzPyilwq+NoWdfgB/JZQgkOfI4f+JNLsFZ9R+b12QErUZIDImdkucFfeiwUOpI0oa/qxMZuOt90FdQ51T33tlpRlNVnG1uA24W2Q5qGmbJe7+BIr6RvXlShnaZsrurgee/zVniTfokTNLbK51Bp9t+zX0ejDC+OZxecOvUHFqz+gKpRhm0xHUuJWenjEG0n8H08OchpXgfkxqL2L9DuOnuEaZ2d6w2Uyk86eIvcpC5DQdC/rAXBBC0PsETwg1y4g1J82LXcNIjA2ULRXqiDJocWSsXiNdQd6YjivtqSgM99i4Xpf+by7jxXkZuzt1t1H+53GuRR/NLuNahMXLP/O4uQxDonVUN/B/ny90NpMiZhWVkqMIlwhjM6yoJUV3LoBmY67BeRImwp50AZwixhWCghIt5pIdtH50IgqH47cvBAfQMMU+PUfHDVycIzEI/UgJ5OU70xcTBAKrP5QXzVqXubVxVxbIrayrnGufHP2zcJ9tuPThFXmJbbd9G8DpmXbcA72xvyTisWCnxNmCc9UHYJGVUo4r/G2gBDurB7HqW36aluXOqx+gLqXyGCGV7egnx6PWJ/CxYpEF0PGn400VdVNHv07QjyjiaZ7+dLGWs9Uf0mRA/0ATMKErWkHhjskwrDiCQcrqPreeojL8SkUneZhK4W/ePRdG5NKF8PHuyhZZ8vqQpxSFlVLjSp5yUDl0xKil6dOtE7EPY+n0C0lzYudn5EQ/r6M0b5OR3NZPnjcpU4c9u4JMJRY4sen/tudthAa9RGVtnyR7c5aQUt5h4Y5ydtUkIqXMW2gS/REMyy7+6MI+R38Mjt5xoX5ZsFx8L2IxQwQs6KWKn2oeH2WipdxvRxWt+YNOlMADXwFRAnKCnKx/R6eNloemDD5/Luoye6CGsRtrmEXViNcsvX6mTuPQfN89mdnM4bie2q+PNe0seye7H0FnFtVBlOFk/rFf6avRCDRH3Qi5Ngxca//p7ZrHL1/n8WJ6FVAU6itHZ6bHncuaU2SnTC9NXIzb/c/Yc5D/7xWzCrY0c+5yIC0jvIRCUmrgXruqgpxA6C/kl+zK6EXweFeXWdSBl5p7wORarcI7rs7be1m51syZWWOXVjPqem4D3hAmopR3Iwzzcy/3LYfpOrami7thDqHMN7vWhQVgR2iezfD8ZTIJk0bduAia1I9TeaWMGWHT6eS6/wqr9zLuu+bn6qPiaqYYx2squoqlNrPpfpiyu00xpvYQ+cAB//M6soKzlQ4OpSmg0UUIzLGOsmZ8agymGBdhV0tl1ofX4101Gg2CEHwIMkDv78DENebH0J9DsA+wxlTRCpF29CEqG4jHc7bXnqw+nnHl3fdZ9d1onKSesvi4HQCkMTtbWExxHjuXs3wmUf6sp4e/SUPx2fDCfnDOxKU1BRkCeYTb8GICet1gBjQHWQbdeTfLek3K+OfxIe/O6mBR9pN9MbWkWEfmxTBL/vWLaRXMrkssN8NT8HEIn/DHUGkkpd3J/i/ursaWVYQMORcCN1OJXeiF3eTA93HoBdoiwQenTQO1gEeJWIFjfR7ZywmGw27GeVH+XZzYzpZIplL82adz0+996qaBPG99oaDSThyK4gw6ANjaBQBt5rvGd4CTMeIxqyOsrD8Et55pt6KnOuEreNpGoaAOSpi6JFXOS95OyCsnvLX4QVxYdYR0aVPIY7Xp5a48nn19SAksDC+guPkTWtC1CWpMv4TAAUJ42LkeW6/p2NPlmkSHphRFnTdCw8elaeYoJDbCWMYZGmWYo+X3yaLfMPnP5uiXecOFaRXJeE6AL2zjqQreQoxSolcvP3sVVw60JiBnJIajR3IyEVFJ1jtBMPPC1DvwAvuYwO55Z7KBsD+epGejbM62my/MGQxDr4nSv7/1YI9d/KONgO/SHzelSE+3qLwqy1zsp7g0HGJj1Z9p1A/VTVv2NVlJ5fS9TIDEY4joyruz9HiHr6o+D+KVrcv8fck8YMjtnSKMymVF36NhsdjxeDdmXLMCioF9rcUuZbRmec9qEO9fgUKk5xO61bkEeGh+b1u5zRV2FBcOIcRIXPfLW7v8MjCjxMAgwe9LUIhmaPi0JubO0GW/p2XIEKHOV/DUFuPJkEdwRtjMX/fvMmmuLKhFVeUc7mPQDmaNbeQ/LMItpYHOVuc8VZlM00XBTevpcE94vF19gSsRTpTrnw8jxhcPC0rXhGBNMynHnZ5S0w122MUglh8XF3PmNZS1jbdk+T8xSyCt0SdKCdsCqOAx34lRfo+8a+XjLOgbFekrKuz6JGkWKUa/DGvBbVxJAxWGgd4HSt3nSBWu2guRN39pW0DqCUsvF+ra1nJNjNeMTCV+T/BZNYRb1DvNn3ydSMMHj6+rdxhk6tut7+6dq1kfKUBkCbrR2kYjaKjbybVLzWtDZ/V6zAl1pXidqcL7gH9vnXqd4RfWERV3XKpiWCM3uC67kzCvNR5M1AtQXn3DcE2aFrsHIp6b7371vg3EMZfr/ZybEwH9P3bqrGPWUQkJcxf6bogH3IM+MVauisFj3F3GIKznyM9meKrm2zYwLmJofvyQueFsVQ8Oh2h20x5g+SzJ6wVDeUUGJ3YtefLBe+XnYe5xrw8lgJpK8hrD4u7UVHxDred3NzWzpmR9aByz8tXd6600Q2hw/9dLthhEpQ6EGn84ZMEJcGQzQKF6eWg4Aqekb/ur7XYL5TYX9YQOZqUlIQohztpOwjAVgdDmGggzTb9NPGin31dCPm0MOo7Plu6SAVavFMkqGI4ETNu79CsGZmA7rDwf6nESlgBIXEauj7FQNODIZ2m5F7Cdv5uSGaZuHNkNBVmiZe1pc3BWsfYZC8HIkSsCqi1+voPyv8oG6Uc/b6cIfa8l5FQ/WOnWjY7w1uTH6U23WwHiZ0y2ptrcJ9AslVNdG4NzgF0hdtZyiGqiLlOXRPsZO0j70r+4Cp5OCNAxbeARINxW8A0uyJdT5Z56tHVTT3HEMxfOoWHnzPOacsrEzG/uzJ9xOmCdps+B4AR2iuknf6vjv9/57E8wdW+NMUuIG5mWvSfBSlIqMn9aK3MsuomMxA4WfZdR7pVe7/WAK46sW+GhbaixrHfJhzO1JnhMSpBLC0RSqEpYHtVDIsaNPc/BVQX2DXl7DAIjl0aus/ZlsJZxtK8/0YKEFv4GA3W2V5uMwrpGBjxb+NyZEsM6q9keyu9HYcTDf3jG6TLQxHB9B3DASVFosPD8RH2dMf3aukc5zNznr+Ov/2DwV/w6nrE8AfaTJAkwd4pgv24snmzvPsUrHp5W9leLNjAnL4bu9bCBkMkvWN1OUy66WWNIIPr/d5zw5V/MUpJJeBcKf5nAvmUKQposijb3eKDCBfCud2ZnQ/MXxUxjELr71ONgxkjmIJudge49mLwI4MEkiy0qvhCwN1UIpRTzWeHLFtEAf++MI7VfLSkkjBLsppGvx276xFO3yTJFKQNjH0Abu1ULfgpsCotSwrZ70yTSjJYcOWQUGXkgDAaPAx97LrDvwafQlAzchl3PBvo1YwWr5Emiqr84fX0djhBCcC33gp2r7hIxelU5/NENXVB2SOVvWkJcIu98GxKChHKjweS9xCu2jV1EKfc+Er9wAzMynhO78nR9eZfr5aELJYLdDSi3QZnGluMXl1+WX0Yk1H+3+3bwH608IXFS8x/ygGxiSS+UXuFI9nwembNlIOrm+G6VAHKez4mqCOSqZ18hk6cKzgH5ZZVQ/j8HhXgGiusHMSvlQwFUi1fkIMZ04U+2xxtCrKOGRpMLc5Wm8X8S/J7lkUrnpVhWBursUBfhpbRyTp4tw4t2Qd9JD33DaLxus/0T8kqX8bkx+9z2EF2KpAQQKp+dGNIQpAcPcsnaWkzXra4OtvZ1QdoHRVdCsColczS7LuOIPdEP2pTP4i4VQe2bJxo9Nzo/V5vOsSKs51JU10VYip9kbGfUTnipioThz0U/BivXo+ahGVRWVf+8zkdcN9XfvhZeDsAXDuJn9iYy7T0Sfyv/5LXTUoD9quFvVmpLnnCHSULtyfBbFqHjl4Wsg+Dhismy/Sngl4bgcHM24MZsph6BqZAMAAEERLwQnz/UOk98zuHHoy6c37+Ne7xPcxu9bpAYF/3U3qb3IgkZk0i8xsviBck8eUOkFU6iA0T+Qmb6CfIJdkqXIU/Ni9QD+IsA+YpiP3dGpJOvhVuSGQ003+sMeei+C8iORERdFTF6nXeFNxs0mI+ZcBi/Unk+gCH5xQHrqWvOvv5fJY14DGNAWrzPpqU/ULntkJhv3DOSLRXdWm/9mM1tlz22JvjWu9f1OmRwDGGvr67uTtke42NeSCpVPzuh7lRvpxb0PHVSnDLad30I3oZpVvzcMSzTFln9FLJhaLv1gK7jy/j5YQR8Qs2+no0mXH8Y77xjzAV3E/aeodhJ4o/EfFHU2t7bBQYAKl+gmkzLPRfiA7lmsBUvgjdDKPPJUtWtLAI2+ua7pTAmk9w9AD2FSotFslZY34xgmlCzWABMgbvRqLWKPHtkRLhbhWx9ZJOXOPRqXlwmJENSWlFwRkEPgwYRRRlCzhfYLPvdMz3f1tSjKEl91t0Neofnac6B4+fO/9Ro4xt31CIFMTWdhFT7DGe0Jbp5MQ0itO1E1T23YXaRvR4z5vp5qNP6cXNN+2zhURYnl8SxrFEOklgfGON9cHh6tcCrdhyF3M2GJs6qQhWmHIPKTZ0zvtgz70cWoQSxhzlvswvKdSrzQ6XEgLoVBCtw8FJaXU6ahVnxFkRY4gidcHTbrfDNPhFLzQ7P0jECXbxrEvfUfFA6qeu7s+KTdOsg1amIhqoNyYHUz+AggDL5Kz/njoMiFI5/dvr8oPwbMgZXV60sj9lkwuykMjIVkK20YFMWXpek+6oSRW+Jg0+KCDaxf8CjEEhqNc3YY1ul9w0WMk4GGWP7i3kzT1WPu6XyON+FJFATG/xLbEn2ek/Rd9tdgSrG5xn5++rujOf34i3NTORhFsLhxx0vh3BY0fEYVY6pPp7oLIhQ0cGBqgNslcDOj9vbXgFR1GjuQJGVBsaD5DNC4q13olrRbC+7cHLP+UZ4+F5Bhle2mLc2t/zLPAC7zyuiNWeZrJCFC9AdgCTsCr5bLbB6u1xeh4+B01DYTWRtqF2XU1BGnvYyasiFAqsPLbqR96UTCS/TpFxS0BRIqDoE4YdLXUMAtxctr9M2qcaEJj2DIeih18KCIL1ZPhFBKDnBG7Z87enhnnBoBgepd8wIPAV23g2ezMATgJEr/C9AFR5/+mTpj4FqJTgYsfyOkPMX4qT+enloDSU5Sa1Gf94EyWPYn0oiwGp3FRM6pPo98R7tSbkzthgUwuG7z6xGcA1IS35j440sS9QQRb5up3RwKRgO8LJyKTF8QXcq/SBzguX78tRTWYyiOMf6buGfIZnT4CM3QNdDXGZ4+bq+d4NJ+nHJDN7s9z5ej4f0AuiCjtddn1Py7W4MzBUGnzwuww7/OU4r/nmhC+0VDf/Eb0CPNa/6A/3VYxvvHlm3ib/KhyR39ZmyKoPfapGcnJZCdQhckk+wLedfPuodIahhSRzrvevPNsWfniWKxMpLS1cg+AwS/r6KAVUL4N0JFUTK+1hYATy1eJRytEc1VcDslGvOqbacj+sFDvLAz/poHv2kPiFeZ2q4NebGqdx5RyFXcFvqkB5rEQSv+YBNxxCcWK9auBx2KCGXlZFR27pc+6m/Olr2dRqTn8/pzEikxz5XVcHGM64nR67xh/Pzswij4gi83GENFqMa6JxSzRCu+TKOxuE0zrXEB7mqSw9FYSy2Et+82URViwwxknB8aOBZo2BRM4O+LHokKiG8VeCTiGGjw4OIfhRMbkgnLG11WkHD+N2UMw8CDMflKNvNK1Ezjd05XpCpfyOr5iCjG5t2GZciscL/Zu5fn2qOctMEyMRFnz7mvdcstykzCPw1UuxqtLZmG7ostl52q2bLEIt3bzGRgQABYLAsrE3wiCuTZ14/kk0uKfvwcrPii7qTPA+6g56ezZf6uWNHlLGahXTQ/rqkHoGp7BWDRhdBVUj6vnmyyPENHeWeMUlgV6HU93hFW5H1Iv9FyRYjGDhR3sNipEbM8u59aT+5H0F3bNihFHtUcDUwJJmc3sgp3rgMHYstjroD6ES3HAtoZRBxkVQhcbWGy6svJvXtl67SYCMNC1fHmi2qbPajhmkDT2zKnRayCUMjieH80Uncj4NBjQ89h1wHxz1o7q/qNrqcwgQHfDvWwY7nGvewIuY4z6D+VYBFSXfrj867D750WpeHlPBZOrTl87/E7MdNfIW5me+QF0s10SmsidkpmJamT/IAcNc5AghPBeFuMf0aUU7mo3akt/2jdsOkyc944lvmZo/FKXfxYPq7Ogv0CuC6WN50AWJlRQhXHF6lyThMzdVAgVvsMVNSPrHhcauwulL/ExBrougxlcI6N/ejgqd/6IYbNBZ3Ti0HGosXimvXGr2gCmanjihH62R3SpnhKwkwXu9R0vSTAq3s8nipLWvdV7gERKI/d4QHhLeDtfmpTxSecP1ZeZ53hD6v2LuHGHdPrQj30ZDHDRiEFJBbYSECzHMEyWYm82wPJrRhS3pMMsKtvfBB5XwZe6/1R+z02sywkirkcX1v8NYUydaHZoF/vj9AWmVJ2p5YI/Kn0NNYnhMAuwtPS3PryEklOUzcIhtKFpHbpu0KlRyV/LZEX8mirEcQCxNeAjJ19P7Q8Jc4e7O2N9C84va5EEI1KgEYItVMmWASil81P5EuUIBLdnaFis/d6J6RWzHDE0TWSx5By+IArPEfDHyFAO3xLu2cjOCRp5rpCvgL2Wf5v7/Fun6pnZErrfV28GdQZuKAyYNQhBWShk7HIGoG48EENNCx+2ZwW4oFnaVSF6YtjxsedHiFPrjWi5lDUp0aCe6TLWOGzqMHEL60OFuXqmKP/3QzA05ilso5zWaWw7NquE4Pue9G6HRjSuYI8UiO5yIHtcOhz7o+8DQBSr8SUQP+26RLztfEwjPdgl+beSwv/GjVT3HKj3NUHh2gqSEQXag1wsytCesoKgAZOwLkcP83wUcwvoLwome3R4YXXfGtmU4SYoWyLldYsONlzmO5WrHrJ6GF5bhzKDYeqeIhklBtblwDxEYZiQXScElaL+P0xvbbbCoKCjuHPnionZCEjMfM93Ca63MH8w+bzquy19zbMR+nIEcos621zcG6zCV6hoQ+rgByOBiT3qHZEIyK4KwQCTAkG4O7X92LFDtmoipyBMz7/ZCwttzrWd+XDc5OyWNM0AUqA29U5Blb2PwYYl2JcKfYN7FtQi2nLc8AeV4Q95mFTy3piTZumTNwb/FfoZqVEX8IcTnEWWbEr0EL1mzxHzwUmUxH2YwtEhWp/HwAZcmFSlukXGgR/8SUF3Y1lai2ptrJVOAfNYnALL4EwiTNHRKTZfXiwllWl71zpRnl1iatApkPZ7TUTGfCsmasRT5ormrTJzg2GNlZtWsj6CB3pLXYsY/ZNTW3FHWxAIq2hvkDAswxGbfyUdNb+snAYdkXcHPGAQV6xuk+cWLGX0vQqKuSnYkGH8EE4/dK2Crzu18pJueEB6mwXBklNVuiNf80w8B9EjyFKHMZRmxxqyRRfBSJVZuQxf1pCb13SWU/OkpQdDzApANFRQPWmJ2aeqR8AjOBNu+AJfF9X5hoOIMayXG7eT7PijpNmadFdkM7sBb3Kf2jTIuVDB8554i5g7ecI49fZ6SAweGIf1BZxUS4+CXilA0aGBSbUIlPMtRWvm0LM7WhS4Ggo/AEsWyuw4IKTV9TYFmZaT+PVzsRJ8hY5cu9k1PNh4g/KJujmBCBK+fDmEkRa2WFBsN64c3jlFG3z0cDHkH0BM/kFE8A3/MJ7z+hWpTD2PhWt+VlLfm/J7fM3OqTNKkfI9N1Zk8m19nrmo5lI8RSIe/M6KkIzHAj59jKvFuFDxwUKSZamu3t7lWcwRF9B6jkPp0egG1duaXhmO8xtd2RiAsCamMR+S/6XHS6PiMecjMVJnxjg6k/at4dNqK4/29ITfI2M7GCSivyeks1GixpHa/O3xsWRkISDmoAHj/LDXHVZYuCZ2I1qRecN5QnvE8hqZbZXBlsjT82Cb2IXaVr/grryx98k4bksALkcoOENLptr55gpFO5F5pvVAO6txHDIrTNlNkSWQzgI250VRHsmN3spT8zb6ZhtSisS6Lnt3jSi4KIYo9bAJ97jZIOV1GbEKJ+vwU7w9hf9JiKN7+KE0OowMTHBUjlYnL0Z5HshQLOvD7C1X5i2KRFxUMwakyiVnCrgOwtT5VLCNYI4ltBry/XzLR6Td33p5859PomVjG2suxN0nxiZ6oNVYaHcQ7nU6oMUjvbVLIFNN+FL36vMp+a9rgJd2nwTTlo17otSXtbfYMuvI4bzPW1KQ5y1nN1VO43jFgayOKUkJBA2TUYzYKh6qhahmYjFDj2U7A6D4JZygHl01zH8R0yG1um8WPbdIrutf4T6Mw2ui0n119XS8cEybHzPd3Ou+91e905kddgXslgmJ1pfJre8fDrwjY649zmrskACe4p1aqwkT95V1P+PUel4V3CktbakNUtGfRuXbvjwHF4ZbF2WIK4aZmx/yriwNt+hy6kWbTq0GqujmWeH5uTwMFKSpey8vPIy4CjRHaqYJiozHCV2UR1YWrVkTSAWXmIsQR1aD6Yca7EpzRZ1LnAn9d1MtqksfP6Pl/CCRPYKC7PTkOAOFr5ENFgA448KDQr4UA8IIzEOSXf2j8hje2XeU2ZPEVv9pKoFPc+wlHGFu4DzTwgk+CSMh7t0sZF03HMqWzu1OJ3IcIFHFfxZExaHEtg49PxBWee9rL2gr5uhlRZxaeBWxfE1RwGM9mfAAqiifyGnV0KPg8fO76aJR8Rl0Rqfezfiy1NPc3XbWmib3npuVBJsLkB0az5OW5OZ+NOp/kxS1ef6br5NaZaD2mpfnIFifVLC1kf6RVlXm1Wk7Tu/0y2nV5zCdXnYsM645DY94YFsH2GZcgmXCducnGOc71TtuHvLeVfONMCLa9m/CPB3PqV1NrMPt/75fcPfhs5iCUhdznFBUqZWg0Q96DGbLateZNESYSPj+rpsG2ZDSGWyR2TQ2rtGcgdpybe6kaC68iT+oQISz+2E//ZV/7LrPUOX8kzZfX9QBWRFxhPHsOiNcymf5mbGP+iUbZhhfDHhMtFTLYB8r5NbxP4GpKU4RaAWY4U3OfLsxtWtbFplaemk1F40ZAgB0ANDNAu/Dq+cpgmX4/zTWw1JqM3kLwtJLrXXMHrv9FcTrkmVxHFHEGZhQT/FsYP2lIqbsaVRgwMlVFhM7KGAvdF9PFNb/kSyr3psxmdvms4uylU/Dw2EoFIWGQJD41hrpmaR5W+XANkXAt55CruqlhaJ3zNCVw9YA2S0++JwcgR34imRj+MCmiR4oOan/7/eSsRq79h/P5yLCxFs3WAKnAi08Vet/f9/of+a0lKut5YF5N3vhj6VCIgSe9CJ/5uF09AzD2I2z4B/d9Uu4dTn2cbMz9hAvLqSydwrCJwrz7OQHb6nPt/y9SB14UHAB3MbvIYP+UflZCali5Nx/bPDMJ6AahmHVwHumJSyGkYLMJJM43lR3LuI0qvfhMA0pj4EpB3wlQz8JrKC9keHgFILInh7qGHJ08V2XEo0bp3n5RtivMfJCIMm1fvLAESZ17un30Dw4YRjGHK2BBrOqljQTGteVWenuVX0xoN2UCf7H6qcpsosykoJZ/WSCOxYnTi/aZUrrfUijbLtxgMrKilZSJGWkd5Xbw4QztyEoK0sglj8GszHDEY4IZ04nroYyXbZWzt3j1Bft66zMAUswLlGwQZnowSdFu3sZIPDH2220m+XK+e1ty/2cJ16PMZ4DlTf8NTk1QjVcvMtCdWWc3OqyinbD+XIhcAj11/AOn7XcRhwz3tpGbcWnrq8nB3BSTx1b/YM8DyS9PbRo5KCaUccGJCLLy8qAac+5neaCT+0Ti6+1suDOQqbOeLMiLgQpAAdnEL4JsprF3xALHaNqwx010KG0To2qwpEegaFD0nrWa3MFkq2gBqcIcVVd9JW8ZN0rbbSg6aWlVwXL8EU9y7+N0cvRVgKRddyanD+sNvkZ2deoUOYBjAkyqNeoRtih46NhT6Kr0QSNa0E4Ue1xyQT7ALoIyWe/E81YXqgOUqX3I2gUwAKO9MLXut3pKgJvl3slhcvXY5XhTw+RH5oy1mBx09IDOnahlVxwmc6+0K0XRiBzSKhIVw10cBNeJh8jgF8cEmt/DiW4+Oq/AzRhV+gMS4bVEMUTbg919eQADuu1uelQ/g88UKV/Bv25jl5vJVhzg/d9wJ5oBOVd44V/3I3gyYkV6lZWqso+qMBxqT/QLcVu6TZ9XIOyrwn5w0wQ7ldxC/vwdsDXbZs0X/f/Q0ZEDuMlcwWSiT2SdOL9pU05V0u+ta6shvJk28K58fSdhbbC4wCfk3WieJagtn0BKEGjPx5MACBgHegnfu+V0GVbFe0UyoXIwCqZZfZTW+G1G3+ijB6ToZKEV1oE1dPz+h87250nCFaD1omCQbGtJ+0VAtorOEc+GW8NPxTItZilbI8LQKdAPVPpwQTDZkqLKuoYf24AJ3smNHAItWjSMH9MmmJFl4hUGw6Y5/8GQHNFHePY0JV7IHMrCQzd/JMUHzrXVr4nVBTOWGNMFWL2N1Kc2cg/9rD12PyOmVFx8xPgQR1IeDCZtRmQEvkxeNmJu/dHyrEed/9kxOCLCtEuyiB4a+r4N75uZ2bE0kIMTftpLBi5076NEJCNI1+PAZOmW9K2KTlaLLJABAN03VIWoJyFF+/6J+2jUrc6j/vVnYnWmicJUTa6xBhPMEPTqJjDa3bU0TYTAAtzrAX31J3EEw2XFoBNMiccbWLRgBD/tkZCH6HXmZms8phvqR47LjDG8O8nfSErahDK17sny34D6rj0H5IwEwaaOp8D5BKxDxAYeect9nj6lQnlt0lPXRwyeNqED5YUgP9u1chmDp62wU2jUkKKnG11Cxme++VikTF+IpdoW8DuUPxwT0fYkjMOWER7UfG3OQUmI5WjfLM2rTmkIPXwcxbkSpd1bGVdRFwFSV2GJXJpbHFJGqUI20xWtb3UE9fDXUlAsUG3BATgH8/Bquesv50MaRgJp2vbxMnL3zpXoxFim3XYOIFpRidIMM1afdxuL3u36LpX/Mn8U2a0wsg9GgNOYAwczcunwJtvUqDYW4yIJjR0g8jWrSMrWEfCxm6iKBMAKZWUmDilXQKp+Th+nzpvcIkDotJKe9aVms3l7+qtqfgfH8si5GAB0ay0jYPv7OMuX7wUgj/eNzOOvwM6uoCAMzPKko31lyQhCR+HMlZj8GT0cXQNXVcPJKaxPcZPG7bqrOjen+gy5j5+FGz6LeRwNMsrbkAoOwOumPRnYWVdvP77hSx2+VEcyt0xdIhGbPtUdeeMSYuiMJxT0IuKEUc29I/THFH7vfrI3gJdCAqNIhHSdLwpGdJv92xNyk6wqnyanPWyO9+c+B6zlm1TxizG9hWPNf8KgfKLfYHiUKwpQRhYeA8P2OgL/kXQWkrRsvHc7I3zlYlKSVD7IUENljqjmAIuqhPliyIfKY6bd+ZGRt+BnWWHAYvR6UdaoM9Cs+YhNq8zxSVweszSnytGew3AwxoGPhoI1zCg0CLbtlFzxl0mBpipaFCzYbmUvPAO3/BPLfq/kgqoe+bGO8dbcEoVvXMNmYG3E/9/jDCXJk9cPEvKhXpLe7NpAmj4E9Zgn8Dnhj08eNHCnfPASlDJvuCUMn3Ds2p+lJ1/JCVtKU9DGI+Y7NlOnTl1mG+OgvquV+xggfEo4r5m8qCmxm4KDzVJrw/jPn5wGbRyj9dCVHfjy+sbsR8KS06VQcM3DiuvxqOnck/64F2xfjddDLEmRlqXQ5mRVX0UD7LX68S4CbqpDqiuo08R4TtFm3NJ24SJYVHyUmV35QS7Or/F8CnAdBJR6qJzOCZZG41QCn1NJSZBHH/bGc8VSpqYqOu9fLJKelML8Hp3QxeMyE9IukRyQksBSk0PR2q4jAQ1MJiC2VfR/ILq352zf3Xw6lgX3j7r470DdiQr8XqR0qpUFBp6KnI7W4BwJUy92E6ETTZfD/lXARoUAwBuGuLsFSjyaLMiRLLRYxh5XtmMgtjNdOXedrjXHpLG4jwno085vhLhmEsZhtE7pEWRVFAuwMkp9L1KvM46BEvVhGKszeX1IGu1p26h9tdhV1+vlCVB6S6kooJ/tcSEpJ/Dz42x9V6mqKShlMakBc+QbJI9Qi2d/ZK1rgklrPLu+MVR+5asOsL6yXRV3yf0AwclXie5mIE+1AdmYilU9bAsvqvORxMiQ4rkX4spWPS9zct1lvxoqrHQbPcmsOiYq5ZaGG505nNRMGAvW/5bTdVZe3Hr9dIMAaicYB2XLmIHbrtwB/wsUptzDpwQc+WS8Pti5966qZxTwAOwAgH4cF3ni9BZR3sUZzsPExJ+/8MsK/XcrQlXiH+DlgbtwDAnNMdP/RKYh5U5Ix+2v2EKJRih0Q5iBTrA9fxenewjUx+CE3fGWA4NOZUtUnWZq1gh7EoNt9rAxzd8A6Alr3/wQkvhDBI7In0fDZS9qfYx8lD9fh2rnk0+Wl4yk1/Urj3RX4hg8UhSwnmh9UrLDKUaN7t6XXd1bqF9uiDYdqxZjTn+zQiORp1E/cB8u+D5f6yCl5hsHZE93WAHNYq0XLYNnTUKMtiUwajEe9a+0uAfoQ6Gu4Dlxu8w8p1YkSMnQ5OZ5AKdyWF3kj/GGXg7Qq8Lt2n3+GDbj4OwRi/RVlsTUA0EShzDOQaFhVkMo1gjJqE5R0cwUdOyvZ1eec/eQ1gzQF460ENqjjMbTYnWph9mv+/eT28OdBdh/NjTciIo9GjInuh5iMuAiDXZfJoEReuREwl3dzRGT6ljsoqEOmEoichtRgBDKHYnTDTR/5fZ2rKme8FdHUVYRWpraiGQ8vO6SvUF/aDPAYx7VPmn++d7KGxWwVyQbGdrt9wUZ2fBvcZaLqqY2+akA8c/ZaUNQqRprcOwXhMe7IdFyt/vSUADxBMiTsrVViMZ4PiM/Rz3iMbkD5oXp7b4QkWRAJv+ZQ55VpVDLO2c/stWFUu6BrOjhTvgXyvmwLAiDjZ6UorksjQbcTfx6ZvNNvjIddiO1zglSmQWY1f1wwTs+/PIKERd7hlB10hAZGM+SEalL8p7wbw0TrtJsazhuAGe8WT2Ug6I8a0O69YyFNZ6wV/+gOgxu9RS2LRfgPrgmZvA8Y/VI8CWG6oEzp/lRjey4xbkNqv8FaGNjw9Bf777cK8nDIdclpH/eGB94HhxNe3//CSHDlrBwWARKfTLVfE24O6gwIqmrsq8ZTp7vxA9H3GhK45OeNhrcERSJwH+BFvL+rYSyGdtyBeWNHuhoLnwOctHdOt5dHEicl7iOy8iGBbnGklno2TZ4ad6rNQHkP4R0oi3aXe32FtAdozA5iaWB43LHvYSImGmjH0C5ta5HDqYrKkCboRbX8U4qA5NabcMtFiU6CNcnmdtGoX62yGMIg+YTdM6M3Op/q76NxQqWPQvRSi8LbZhyXoiQmCbRhtRbu6LKhy+ngMzmjZsKqPx9H0XnP9hX93g8JdVBy/KrEJU4i/wRHNUU/RvFdkLYecF/5a7B0/Jk+9TOEbU66qxHQzDhiENLJElilHQUlmQ42Z9zph6wdsyp2L9V9Vv9A+O7Nbc34qkhNMSO1x0YVRMyyfusAYqBsQ+eHC7F0NfXoRC/cEzf0zQi0eCeOuJ/VWz14Z281Gk8a79UFUhFZqo/wGqN9oxSfRNR0/5TF22nyP9JyjFh9SD59g4G+meAMgzRX52XdT/PGRL6Cc1uENLS+AydP6LDmqq+Htlr+vUgvFE2gJvEpQGd1C98OHOv5scykhi5wceGOBkezT3+7C7tdQgvny2TFSVu5367S+FBrFCGZuY61U9LXv2IdnNokozrZtRpdY1lkKe/RsOh3tzht13MVNpzgUzABwWm+8Q4KXooMk4pU2w5G8z15eUjbg0/+QiO/ACk0bcDt+UT3I7SPqext82jgnjI40p73gXWP/EjSJYopyeth/bApP1GLoDQ7taJ8WWeyJ5fgnuc499O9DbVTcgYw5t/u4bl1czZnIjndnxmfxcCRKO9FOq2v5hbXYn9myg0gE+fVk7TBTwkIK3uyIfhySz1fxAh31DPwOv8VoXk0WFOH/5Uy+5Sa5ZwVL0OyIeJZTh+0w3F6CSryoSE71AWPYDeCIi25/O2MeUY/9xmOoE2J0RrmiScepHEk2rYYY7Cviv4cgz1kgU+h2H9zW+Q1CvpC6TeqJfZn7y9fwEkh1QfwCP5mWWdkUWgOzzNspdG0VVvLpWTfFfYRC0c5cWpVYnQOHB2uobfSsa7pleZ9OK5sOmoXzB5XcGLJ33Lbsx8PFvHkpfM+2Kc8XDfuDywThJ9oEtK23q3HfagZSMu61MHcVgl9T6//pvlib/W5+5so4VArgT+QoBfKxucJgmzx1dCLE33QmYI9UXY2+4NIUNRKXtsGNylqx1EdTCeFuJEBZjLn8YOnH+C+kbCbxNStsxOQQx5NyRF0ERoJ95YMBdjHqxdfoS5uvY9UAFedDvzqDjZq/7y2Fduv44ra0ko5QIRCv5AXDx44JUPkNPD3a35iZPTncP21mUQVraZqqfyYhVdtDf8QbPqG7ppYqht5Pm4UFYjhUOm5ZEUaUuktWzHbUq72CuVgQKIlivby/J5vAjDZ3gOYkZ0kolVwIa6wWzyHaGPlkqeaMvCadASy8Prt0ZAvlc1kXgf82a4um99yvbo9YTtMpSrQCTsDMc5sP8B9h8kwo8x3rtRhdIBZlacUhzuzrH/sCzQD9RGwYR6AgmYErw8opaULgCYeWYtlgb6iRE1BBYvBwZaQIylp5JZSBE4ILlPxob6mMQFTN2pCm3KTkYPKkvuOuqbSAnOazZhX27q5moEtgEPiymqmkeFUXnJscITv3+07j3SUGywboheoGj4QD0FzVIlfvm1uKJarFz8szJvfJwEEvYVTt59546XSZzbkc05I8RhwtrjAU/27LUrqx4kJACBs56SeuQHVBvSOa6LT4IKCOAsDmalIFGURCFK8fPO+ILNltKz6aaKBITIyzicFP2138U2c+BxYvXpBZsBYZqV8rdImTnw+FBneKB4R2cDGZyFrIRlFR+Pv6ADv3Bim0kIKR1DC0StqBhdpW3Vr+HVSbCmG0bGE/rqbJL2wEAQQrrBVr4lvAiO8D725GeLyPAEKgJK8jMMO+EA4WK3/g0QuqFVzUrEu1r0QeRLvBOxl2xO71u8Yn+PeqtVP4MQf8Wgui9RA+gr6BAkcAuJgqv9LfdByiWkaUbuNQoCASz2Wwhteg5HJCk9hESbAlIfcowFacRIh9+pfwtH4W6dqCrfxGKDyFInI2SQGnMz7AsAMzk5R/WmmiLD7Mie7qFLFw0aldUulgrJCzfMVwYCMRZJHjQS8tTWcLVQgnzqyVq6dHt1x+Gc83To67mZBTS6c4RaTHji3vNVElmMqFCFbN0JZddCmPyF795eDcjl8j/3QIwDoQiSnyJY+RdNs6zo2+KVXVHiLPL9z9/lFqGoBuVbVwzib82MCN7hCOvcCOdCvN96sFofdSlDs+kOUMvgiOziy32fgl4ACClGiZaN3dwKeWGA4BQm2mtk0xrzItG8N6zCV8oDteFk6yql6l8I3nHh3wDxfMEc9ATTQcvnKWekDFRTnb4eh9vFQ2HxkSU82uKbCXWAoMsejKbrgNe7nXmsTfTV1yG4PVEmHeqhJqdV9gSTW+95JUbIRAfVuuIsHDPWZyR2CqD0UbeRhWLGpplahRMmlKCqBUZUTnD0UidYv+d69x/hlnsfNpQ1DORB3y6gcIvvAokG2kvd9/w6e8I1nD/dXBKVo2eEqovFYoKiRM2abBTgRl0yYAGJMzMVeG7Xry74rixEhjv2m9T3nNufUFXx18d10Cc3lfKOqg+9x063KDn/iGg+McCVB98wHQPCnV8mnJD7bq8GYKQFSFYx3hNH8sh1VzN2V8lIlCpuf8IouNJqWb51BuSQwCZBZgsTfhe8+bctG2t9Ym+xf4VG0fn0JuXKKc1UT84pf3JxaaE6Cr0lLXdJnH8TOMBv71ruJGwmK38fpmdHcOzHKzkCyUsYTDdAP7au5xiYqWCq77pUFGw6Mbu5QG0jPIzRIcDSzNdZ25fWaHCQRvS2w9QlApPhG3qbWrjoLiuOBybb/aJwxT6w886X+LlLbjedF26TxtQhDcw1oaFkpu3X4mxC7tS1v6NXHjlt3QIt8erEgYBvSjKIOEOaaRCf1LmUTPLmtDNGwk8cR3iydECilteVQ6R33XgS5RfRSSawHilZUILWP4hqBSBD9Tpf0c3SqFNbnKuPuXPF6+XSKFIUWRfSLdS8wlbwIwtsiOfq8nkN7OLP+CV09bfyUQEGKCyPRZ4whe4BA00sh0LaxJwucrkJg/pSv4YWVR5ONpjQYkLzb/1OOSJ5JiIi0LqSwKQ5h6V2R1BfsOPdmMZXq2uDpzvwUaEp4LxFA1wx/82bV+lJlMmFC1DiWK28CKQqbp4mlqZrwce++ABsx91SnfXUvbkAa3oaFS9T8oCsx/HqhkcZpSqi3LL+U4H1nNvImzsgmF1u4wY79SssPrDTBzB6JKZPt64Jp1y6A50wr4vwZeZmx3MGCNBkaCg+6GA51B53KJizsHDsRpxf7U88mFTFEHjE/3B1A5nlVyxEyFddeFzaagIzbavoCKAwUohil2FCCJLcAOOXeEjpq4JQo01kXq2aYb7mgPwXiEvqhXlG9EPY97stROz+92Buo5nAvYQnBbRHzvQoQ/84R49cOlUNIYPOmLX4uVlEc9Y3rIbxeljj21DGN+C5/PhV7ZvWnNDMEYcddgxJrP7j+O8XFHePX03YFd5Du+RHvfN2Xo095OqMnBkJsJHvXdJ4aR5vYxwO3S1z4JZxatLQ3QrvmOb3ypmL6YXrvOJCcJeMAoIy4qSBPY/yT2TXuiIfb2mHdA7Ko1AIM/hb3qOjp/9udHu0Sf/17NdjGOr4p+qRl0B2Yhh/+rJ547L8uiIxUOoQthbhw2MgsqRBT3iHBMbTbDlCE3J1CBOzzDbgfvlxGwONSbWAgfc1GadhVnzDdLGNTrJIrI0ch1hek2SpTodHWcrC5iGNDDfraRgjRrxmrusFQjwOP91fD92Uapo7BR+GADZwJurEu5tWFBD9r04u4kUt2nHGI1XMuR/BxUeTJcHcQ3iMQPQrSckE+AhuEdg5zDhdZtz2wiQR+nsGc8CteC5tyBowUcvMk7DALSCTxSAM9yD0d+dwpWQlc2aOgt5hPkeOSlQZeP9yRRHzv6TuiCSS6kKVOx4CSprD1jdoDOTxkTwumPVh+bcdE6FhBLbkwtoCqlSWG2BYleEcBcHW1AxiqN7kTyLUoPvdSK2TgdmLG7VXhwtF5ggRXosJb/sbQ2YYvPog/X2MEe4cdtCreowNnlGd/5H4rhK6YvVRIAuvQg4NnrzG0ICQSupbTfQKVvA2xUm5gavMPHnzvZjr0hUayPT9CTkjPHBnJaSgXe8shjHJggrkcY0Tixt8246R1CX5CZbepo5F0TCmOxgPdWuJLR6BVq+GAME9DATf+kMRXwTIig1774PdnaaQ4C/uHiMBLJZhN2TXPfyVn0MfrWLGrmlrgsL9IP238Ls8iFtDZlbkQ8XTQ27YfsrDPw4/ig546/iCNlfYqWM6QsEkECA+4xsltzRlISGGlqOEJvGZKFUI+adgPetcuBNddeYBQ+bfHrFBaUy5q0f5KqL0KfJ5UrV127cd2cATucK7QOkTG742Ps1XnR40r0FypTKo9mwlGZy9Xqiju20nGmK/GmzoAk3U6SMEh9btj2+xN0+Sf1FmB64+RB7YCLKdj5/yMNnQqMw+fgu/OCV306ihmFkpG5aY7Yl3RCMxemm5r1M2twxjtmUPWwpiK+2TwG1dnLM8tDA/HiZCpe2o8H/fp15Os/oBG6gSKkOc8gJayvnDJkunONa6JarKMZ4in5p9mnz5wLQy2iantQm1kMg6RZkPuHXvFXwWx0sVEaEcaGIkLvVsIeAPlN/Bb2fS/cVpJhAmYz/8gika8d07qzfJIM/cS77N9mE/41BrcfuEMYHrDnCvGLg0YpdYSVVPnRqI9CQUDWtSSF7fPcJ+JxSoV1LIz2S2TG2vtjR8U+e3CnKKQVzTSIwGQliKKLmd4mo3k3mMMU4sRa2ALwzTo/jjHE/dZVn6ZdeY7ehFfc2ecBiReEV/jeDho3/PXzOIKrpKmupiagCrCoQ0L3mb3yx/iT2EqPv9l3HvCPnjQSxiu0qVm20j85VpQmPGdFXIgWgl12CFyrQx4aJetrSb10LBkIJ9zwHUS553cv7QYZcOUqdzJcqsIOzBfWksu+M4vyn+NH1jv/GJOYSGjTgUH0QRuU/nCNxMUoMuHVonafIdezGIY24gWYjUh+AyNo+H66U/WvC6+S0M12+PYRgdbVcezUeliPfvz70EuntxMaiviBoM4htCWU5NErqQDpbTwjg1zoY0ifjmHTCGHcl6qtU/tDXY52euPy9/Rxq5ally6EfkaH3NVOPE0pVLFJxQ51gAphs6WlZEUEp/oeajvbzJHGNeuU/4mbRpLavwDWbvKomVIgjJI9IDswfYNtUcE7upBmDGZ2mcI6vx8fo1RYcvwyjGbfz58/swqcwz95yZoGGQ58nfJjQNnCXM+JXKU2mZn3B/4lVCxVfVNtP62AH9k3bl0rrgPlbk2/Dudjq9notEKxFrwGVFmV+2TqVm0XnrCs4AimRI39/aQ+JhImYeKLQGpg48JqBV9GMuIDE5G0HARNo+EDPnnU2X5z2Q7e9porhIRCZhss0TaYw+gcVydaLYbqM7V6n4r+32sUxDD5/VKp9r4eObz4ILuyrqlOXnXRuDIwlOHY75YUyE2AlDMRMQWd89qjAo5oYdd4VuaaN/plXlDir0ci41h/nd5ZzKt1efAZjHc2rEU31xDj1Kvxb36LTJl0VdSS9zYNM8HLGNByTp2IBt0okmaBaDdpnM+TeCtBU2Qy6RIXcl5D32WuR7h2KKjfx8+3ArmbwcXCW5wt7DJdwt7xjZVmDfG/Zwxp3IpSxFFTyFs/gI5RdWPr/WdplDc6vd4ctLdyUhVV8RVwzXvx91MP9A9YB93QR4yjOfc1udGHMgrCtytl1DcMhRhX2AYGuTwssEOUJavMV1w+NcgSawMd+RSdcyE70HgTz27JLu+hvigHJXoi/KfX7IsxkBv3YTrkWVAQ0n6wbA/EUOWF1gslwnqZiN2aZvye7INhyglXWatZHRPpXEy7br1teJ/F3AI4N0INYobRR8GPLm5Mcjh5PRdpmBP7/cQTxMaVIeMZ3cKQFW/Vwt+5Irr4/NNCbLS3GvuJyAIslSZjXgOVBfGJt+LN6kIYowfc7a5Alok6L09e3afZ7q8sPr8QW59QLdLuZwhI1VXIKAljAnZn3TnET1RlzS18S3hBXJ1wf8XQLUwola3F2nnPxdmO7eZ5zkNcESG2LymMZUnEdaquetALk7XaLOeI4uoqtu66ecd/gMdCFdwlDZyVVRXvEbQn46yimunf7QM5/FET9uo/Gt9wHl1PffmS2RE3JAv/MnB3GDQx8E+NJvcbfnQ4MM1Fw13GfEFZsGjeWZvsfWn7CrcSK+OLRtgePV368iALLyrgGyIeC8/vf8lhp9+7IMvXbJ1Z3+69GNHowLwJGVJlbWgYmSwQ9Eooo72ZtwO6lwMr1f+Lwo4BUs4eAzcnjk/mspQKR8uzaZRswQVHZ2mKsKh7B8qnKJYjJpmqUoFHqfIIm/zr6obqLQUvrSHUst59tHXLbu0TZ8jURNyRyNUUNUUgpF0F4rIkC2vYvoNWbkujvk5eh51WE45vBbHVcRv4PymSnSOKghU4rfZjQ4tWSsJTiCQ9e8UZ0snJfW/ZZqRhbeDbMDkp9kocMjrdDKJTWSKQHLv6U5bLf09Rj6PxkXeyAPVAzosSvl941HEKzo26uk54vkeTrAQpWmOxrrNFN1AuHtzY15ZJbaW6OHDzGIhVTRoJRCTUKtHtq8+vyUpZxROSi7aa9RxjtbGprYw8IMkCjugT9QyPWAjiDHI4oFIkCxvjt8mh9bHYLiE8FJFt/0rtjTsvepwVLUuUwc0Q5EuzXkvVtX+A1ahC3y5M3xglPjoMr0du5GEjxfVoyMbXv28P6KEN6//b1cs75leuutM4KDcO1ZxcnmOSxjA7PSwaffvF4jOyZ3d89jngkaJ4cvcpbTmuLUEnfQeVFX4x6pYowN1l1AmQJfS0mkE+uaL0Ud0La76xqGz6nXeQxu1dErSXl9RPvnfqc8WNmsGtcrT7Hc6SEzMF303KlXwxxjCJsiZT7OaiMu3y5nlRET9kLzyks8u+eQgj8tEN9IxssKySmQVrhsZ6oKBLvmVUhZaC67bQQb5n+iYIUHsLA47PtXw83C2roBU1PXhNRp258KFPjDFkIJwk79xLVL+E7KjhelKV6RF+MAaujiQTmUtcZJyJUxmx89e84s6QYWcrz4bXzuc6EFuXkxrfzJbLtwKA9Bq6jLe+wGsScpr1exPMolXDkmWH7pgOXMmrtgNqluSUEffGtbgy1Oy9i+Fya/9k+PwTZSVfKb0CoWxgcMGrfhOpzhqLptCyAqGzle5Ro67Lm9cr2jjeGNkhr3ltXT3QOKiNghhlqxHmfIIi8HDfbYtLkTKJbwwQ+TSxe4UndkNmSQrHmW15DYPyWGWmDmtVAHzvA4ovLhCfD1aoHgMJ8hhHIVLszRjdz1wSXfhSCEaalUAAQRdpyoH+aEBjHC1F0SF1BAWxjzNZIwegX1B8GYZl7FEInh2BMpx2whZsjIITMFiXuDbQr3iI1+Co2FwwGV4Hx10eLtLlHCfwkm2hNbb7sKtrfOc7m+I1mErkI5aI6VQVNCmelefvLartbgHROpII4LBEQIbFE5pdd62GlGR3j8rPxzJNCb7HOpeC5D4dpFjxw5MN/Hjn7fLsJE/TT6YJekYU2wBbuH/3KHLennKruUOnLF3IOOHj2cIU+NFNVyVkatkZ94c+0YR4V/o9djPWcYZ/iKxw8ODh+RORzQpNKHYkRMsdhdjSqHMplvjGEUlDHOlIFj3ZlBz2SAzj1265YX7OKMm5J5n6lBDFJb0M7vRNczAyJGB+XLTc4zC8oktr+K2tkutRTgM2infUbOJHx265ggDD5IBAUdMzvVu/siZOqXwoWexL+cTorLpkcB6iMBhdVcgxVEUO54r+sx/SJYbHQN2aUgnSUmjIvqeA0ZDLiva/7VViQlvKWOgqCczVF9SwFZQhbrkhBtR07o7O70KWOsVnO+azCR/XN274dciVLH5taEOuKmXJxX7Mv3EGLfE/qO1y0DUsFqIlzjchhylP3Na+Fj2zlVf4cUC5/Rn0fzkIFG8AXGwqM3w2PT1v55i7PtY5rmMzsEmsoBGIlHlUOIqeDMZ7f+vpOazk9MLooxKxooznIqaxcnv3cXdnTXTgACp8RHIoSwoja/MDqcnGnZDxNc48NKu3YaidmDAylvgwHCJYm3eiiaTNC3E/DEmsOyNrBVyM+dT5y6W/x1A/X97WoaqD2i0x4VXQeAubuMB2iduIxMwaDk1qOBY768ob6w9qXMdRr5nM7JQWmG5juadwM/O0ce7o0eCP2JozDSLuQKKHJAnmX9Rx6+O6DTGUAHtJb8h2FfOPf2V0uJWpPmasnySLPlTzsczCO8TI0e5P01AJKXiL9hHoNIJT951vGgJAq6uJe4DgSzdqP/e4RP7tRw1Gndbr23XZhP+gFG74dwHrJe/aoA6tC1TLlwU6KjU4OEdkem+M21dUCICjoYRVcr9bbIyNqx0wUF6zWtogPc7wQt7v363A7HpqkvRM1qJIoE9FDJgORRMa6NrJxBvdequ4Z9tkjg8aIDSVzqPhvBZOHippE60KVbJsqZcr9m1DUiTqTJ8ONGaJD3f3jrK8qRlX4YH331o3mUaFTWlU0h+Yae1/uQZT9eQQSvBJHxFEj1synSKWw2SuwVjkw++p8bxU2Z89OoTpK6zymybPUcDoW2dyIDAWO6yNQuPgPeXcQf+bw5tLs7AZ+KWTjOeQK7wtfkwTSyJuy9WnU+XT2eZPRehLjMiXUAAwOPt6EnkNnIsniM2t0BvnX6LSLSapK7xEjbH1vNpyIQeymLcwapm8nZ+eqDRmwh8O35+okwK6dp7KNayQbCg6PcsxfanY86V4DF9iU7aNsjeB2gcDl2b47C90yTywt8D0MbZS0IZ4JkpiGBNdQzwn+l6S+ajoeULU6cRp7Un3odN6CkRrSxpSbu2o/hW701BqoWIp/FRirFGVZYkaC0tf37QYmajjIgFw3/HkzYcwQcfg9Uz8/yVgkEDrZCwHi0ujgyMqjsTKC5E8e1aNV/TSjYu974iQbNfamYJN/mhG7USChZqQRqk7dY0hO1E9/MmMxKGUgaQZbiyBLJUyEQpsoDB0XnUyjWOON1eQuLYXvMSG6851rvuYbiwXbmsxSH7+s4BRZCKiVRhSy+JrTD5z/T6a+oHYtx5ShP2GMZ+GkZvNAKXZ/8j4/toJV2oTUybnUdqUyvwO1ARBJtfku/JPLPiUqy12r0YyFa1NkW90kYkfj52I30HLA2YVJsP9FVYukxzpWjFtW+qe/V2+SuA9MSb/tUKi2I6nNADB5PD0i2FLf/E1ZuJQeZ1zRseL667NhX5Sbx6yL6f1Mi+vGJgESB0ZzidLNegMXlc1HXOJUka79JbYYxxve7Quc/6WgKhdCYJDk5pA33tuMmfCrSVr+XyfjWmiYCbVTxJoytkJEvOQahxBV7kQ0IAQQ8tXzzjqaLqfBp95p/THfqUxITYD4Rq8ZxNNd6T0AvgjVkBMNwRUM5T9DbtusU2b4OK2dQDNYSJcNlV0B7rEnwz93AatgezrV+SNVlMcm+RB/VSva8F+57CNqzLp2ILgnQNbR4hvDT6PBF5bQSI9LmHH3ldCjqdW7F/EthO3blIPtlKr8KAUiVZAmK7qJSkCVkEcb7mJ1mrXIMP6BaGNjUz5eLLZeAFaK3jO1qLmgRQIu+ty0c7h26THRHfYSbhvjr+wSQcKbeTcbVEwzpzTqCS4MuHNlLNd90Yh5oy/BHLgzbBZbFchl0LsQ/Iv07jcZGj4NleC5sXmuLH8QmUtjZ4iGKPGmNtuN4SN4AaoO08ji2NRrfybhn6txMnXSOqz/e5uRm8mX6kfe0eu07ABi/5DM+ugT3AnA04M0l0UQFIv+GZ/wz1ZjU5F/52y9Xu33cvEOjHIKyZ0KxWhWiDDVFTbjwLTv7ZSDptUG8pjiAwK4FZndojCTBhsk80fMLHo9hdYsg7+/UopwCF9q7p1yub3cxFSxkP1apouEuwzjflMnaJAZNnpxSzXK/CnSiXf9EpEgtxHq+fbXmDP76zIuYH0NbzQ1xe2tFhLd4hdwng47wNgfNpsBKRA1efZWJx/7ZyL2iaS+Fe71kocSOAeiWYw7ewSdb5HxtoxTjAO1sCy7FHMx02/pd/us6Ym9JyMch5xDFQG0phe4iwNVnfjWB+CkibSquGIiw2O1axzPtDOo57ocB3EkqR7qX7oBbjk3gGoruBV7gulI9iOj5zwCaEszZZqEyhUivQZPzaneIjUvzjgnRxDM/6yp5ZzF6hYuz9+psdaQR0z6A927DQ/qitGigAr1XB50D+DdMY1M1iGYJXS+VRTUaBKkjEeHgV4c8G7EeTpv2TBtaxTZWRRsJ/qWQyU/KLuyeg+7A4j0ydFev79aFtWuw1ClhYMKm+ivxiPhRBSYcO1bcd+aUMfjQ6CHSbM+fSrSR6XL2y1W8C5C49CR7vDI2M4UU5+YLSUOiFZ1T70koDSleuTkBHjMRPuVGKLMpZBhdFlJ3b7waMdet5++TliPBTg+VuqmLwNh7FbXU0gj+0lcUHFANrYyfrmW2YH7goAKWVHgxX90dqkJc4/QuGwT0gnbaFQAMPdugWinihUYb1GjHy16TmN60RHc4jx5djnrhg3xlmd51xGzgoPjos7r+SiztHboEJPDTPirVkTEgG/+dovCQFwoeAK5dNmF8P83Amsdbf1W8ZDjZIIeUvx8X6cmylxt/CmfpYb4bqaVVVZQjBCfWgmMIDLzyDS83oxagB7u6+oef87MB7u2xqy+gj/cC0a3Qt7zx1Hq2fMxX0eeBb3ksSY+WdYVX4oYjyWYgBMY/hKbPakkpFHd4GN6mnJD9/uNNN/0/WGz2gELoeOZN2AAHyihUQO/muX8XQxdiZcEmMRJ2K3hBv+EIKfybZAYloNBuO5VXq5LHCcEth4ZZrNbfv17wJ3j1rbvVrJwNKOJqCSQbxWCKPKXjqDElhMrHLIUfBF/dVB1YM0QNpKBaXYTJGvdhwydDCB6qSvKwfp6EHgHg0M1Yo6yrHLS3WWGeCnYo+z305qz1GqSQ27k49l56X70nbqGakPjWBMO7fuyaxc0hK1arAeDZNO7LBNsYaphWSz3zr8KHq1WdiajOQUNTiJu/nLfyoeGelbU3HNk0bN3euTLI/sjtFROWvZYX2DyY05kXPy8BtsrxsmBnXTbAgwYZv/m0zpEv8H+j5K3Rbw8rnB2iONl0eVXDt3hdufPrryPl92l6DEZ27pLyB8P6H2maryV1qICORcjONN/uLBP7NHiMnNpqZalx6gUv0nPmN2NNZ9oD5v9FSIYaXIHtmsXkitHrGefWM/BrK+NTPYO9LCeDFCOxihbP+YV6TjeMtBaS1x7BJQetR01MOlGcoZib6tSC+YaSB/sfTugv0PPMH9/AMkmyAm4nu4Wv3PRoxSf9z3DIj0e3LMz5HxwuiaA2200WqcNdEmU8U7XUclPql02Do9qt8/6KJWFAReo1yjPz/RxFI2DtpJrZ0d1m4gEAbcp4xOI8Enbav7bYMRIRNEAP7QrP3fIUW5r/0rkA9KSQ6nBKa/IX8HLgLn0wwpwvoQla80ahfKpZOejNc+lp0csy2uJFwVXru9/Lpx5EKAYL03KRZnJDQhcHYHdEISdFzEOPBlbn5ZhRZYK3la2i3yPJ7PzajHt7hl4vGlsiy5g4R0UFu4ZhvklILomLnoz0MeR9ofHxE75ZfWXfTwpFjM+v4IXB+IXH2kHNA+cbTW/SNx2XPhKsqo5KoNsX2kS0r/KJtQDIFAuVJjqGDVvVpMguJyWeFpMzEZPrlqTh3w7fJQLZLZnJ5YIKN+qKqxbBJeMlnsB5VF2RHeXKaBvWfQ9901gFqYxX5cxqNPfvt7HknQzM++kpyU8WGtxW7u5okTzvrZhcfwhzSPSkQu437gTikJg3sx6rnM6XEoIHgf9vZV6n5ooYmt+CMAAxvbWj2V02sFMpvH6ZI4SWAnTT1CGNPI9RewQwd6or0+Kv19mFwNoEOyqjLMNvCg4sPJVD/ikAmSSABN0jSJBNQkq4/fIyeGdvRs+c16J3sSNmR5BZR6pQKfYqJKBDwABDsFDbLLozwy917BhG6NBMkpjM1LXFn7KzkSHMxzcxZ5Xv3Kx6KB2y4pov4L92z0UKFPzzJcLr+imzGAI0ffvv+lI5iVxTPkEOBCWUpuf5NejtpjjKx4Zh/1ppbHPNZ8Tb+OJn5/RnyBxclKIhMeqDuer+su9UePSlLQBPISTD4giMyMQxEmzN8hnEbTENpuDQYwq5ED2p/BgzoMonCvd6yGlyKrZ6cazL98LKbm/GkBZLKpnl8fou13mSNzCX6jt+gmiN+jrnsmIv0Y35OkwhIBNIwP6WDOfNfd1VfejX1D13rTRIqBei0bNNUalPl0H25+3Y7onoprtWU/jUYyZMnOovjtU9CkJ8I0sDf215tB2f0YID3R4GmWY0GB1qdohbgWgcSNe53TKu3yhkBO+2/AcI+g9+BwwefRgilZbrvKxNbp8iIt841l52qbtqjvYCxf35iShTCC6SQZWmmoNXlTKEGlh2I7mBZBdS6fKyE1kLpi5p9cF2ruxCEQjqABCsso8C1wNipPkpfYgN/MqXGDkTRnWjGDKjf9R15X/lHNH1MoEBz7OK/3uqIWao+irUXWJ5UnuHp1KdnIOZ5Tb8iBAmO5x0UZbZxBm7xDHlCBFSKveMixvyAsttUGByu4XpafeXOYGZDfh82As/fHGmaw3NVSifEkmov2fsMn3stG/RsOyqV385SYRod1XnEI5q2QzBNgWdJ1c04+jPWRsdRr2qUxYwRQ4YfCYO2jn5gkQg72xIg4zAjLhlG5Z/H+10D9rZL8L3U2eUV5BTGvuKF2GL0qEkPzbk43JdSstOccL0cTdFjGKK/9p0pH/HXl3ACQC5H3Vo9B1UT+tRcSwMB0afnytW075nrrj72yw/zpUds63MdYqZ00TBDiLuDnZWlXl96GnNw6oaePrBbb7UGOMiX9966xEja6Li3n+YxDJSq6hm2KSJw8/t3oYET7DMUv3lhC4odygb8q24fw/5J1sbw4xYhHFz2CFqGbErNXe3egHLuj1GBrzNzHq+9ZFG2hsosLWMsGW9O/Lnp/LdaEPNtIxHxHudxswZbSKZ3zcozm4jojLlrf+ETHagw8ZTiFLtd8zLZ3QxIiJqrU1DZpx8uVSs0SnnMXVfQ/GmaQeL6LCZfA0HLmd0O3HG9DxVtIwC4jN6VtYLmh/UZ0Sn3KlwujeovwfXO2rUlV6m722D7TNWLDsqxWIB1i4oZynLu+JkTEiEAMzeu8ny+a4o7ZvbkDZ9k+K2lTczVISYHxaxMvWSPZ0y1hVXwWT9pniBeJ8KyXZMdAPkI9793Kk58YHOEQVxf94ySyi+QvZPEeElWpBcXvOnNV1H6KITujWBZpHWhvZArb0toX5q17osk8nNB0h06vl8ugKDPElTfAP/K/U2EoPMYiWzVBWa28eh2Sl0eQIwPGS73ZgVngIsjHYnYbIpulMrViGemhws/gojr92CmypGwuxu+lwyJ04Y/QtaFWYBtQJOWZy+OPGU/lKrSiOC+0dN10QVLbpR0N0FyXTTIzdK4GL0WB8AgVlqG2asgEyTbM39/mOGgFBf7KVkTrrYXw1rLZuxew+6x/Nyh+T8piCkvxw8vO66JjhinzIo4AsxWVh/3jcYqE4TygtnLuQh138LNWTbVZGFRD986yhgWCej1O6xZcNSOWKF/Ax+sJIrDOmtS1NK82366rjeOyE7NfVFfMHyaCUBGxNvx1kggyhRyDhIg3sELfmKRgailGl6s0fKK0gwtMHb2TPs5+nBo252gXZub9svl0rHl51WtWM5K70Q9uBxted7WUtZkTjwaDywaGDXCU3Mp10IB1fymPFfHwaF28bfvxyk+R8EMpVqtwTbwU5Id9fJ5Dc9FYZ1NQipgVLRv4EVeC8OoJGzj1Av/onKtPwS7e0f07EPGd5xT++0tBIhmAaznVS38cbQ4xkDj3PbjEcot9j9fMJ2ExusspMjbGpu0u5g+a5ZVDEZAUjG3OktPPG4wJo82GBxcqwKoJlDg0bIhxxEvuEqzUy14EGiWEoDxEU9Bi4ALXFVp+ETSBxsPhlu8VtD8g9P5sTTyQS9oAXp9GegY5rwyflLyq1+l/RNp1og9125z5pCKnioK6DOf0Cwej8D++4i+Xd5ZCE9Ty6sLnAeGjFBMfnitwneYewQGxzubKRmJ07s3LZdEqdnkeE7p1DWk/McPJvbC6wliQ6utTnMNUz+FVcQ6QbwaZitgoQQjzeXzHTUhqPE+C7wd4aymI1cGNbZ2x3/ccY6BDd7wUj0bYESkt6+WkNqX2NEeYWeuud77hz65C+JFbbRjq66UyF3XCED5LtiBt49pgKn5CpgBlT3PVQHqh3lf6SUy/BGdGLZ+mLGoH75MHEGj2SqrK5h8+GyXthWzB0DVS+Di0HFMwaylvbDDFCTgmvKVXiXi9j28170nK0VqAz5fgWNmvVOFpDJSKNsQuYRnLbK1PTPeYSuyxAthLKN/CJrr5BH3PQnFpVkVnGdf2Vqj3mAElBW2UnQLJD8jnrnfLERzm90vcY88DvFMrdrO9etc2Y7F8HOKUuD5FQWtFuKw09TRTZUCWUSjc1FcQ3VoOa9Csp/zb80H7hWruyOwXTql9xhVFMpeCpoI4Yskb+0LQMxRx1Df4GW8xl/FENd5LsbsMqYVxNIA1ddJUc9PG6VLbS2bQnqJ4R2FH0BKZViBOFKlqho0943IecF/gNWK09S8QAT9XKteyRNe5ZsJlcowiiN4+VFWNeWaVneJE+qBW8i5SMytov6IHi1cLSPY1UveDhjTqLmretgPfx44p+FxUUQwXi2K4kvpanku+e7G/6wmGo1S+RJRM0eRL45U8aWzqaScRjWaFNsMzVJk2eiMxP/7sprj/2MzyFkeYl1hsQYASFG50KufnPKV+Cog9A0/1Hkmk1Lws4z0rSdnjikT8oMfy+DgfPq/vNlbzbw0sHxQ16nMiCB9QvgagO07cQy589Oy3l8vBVrAQ/2fTG5fyN/bmwSMdFr65WmTVjTr4Tu363U4Q6g/r5TZGnyGXvPrSvjx+DWk4SgFdVOvKZDhFotIz0j3FYohMWMhRaBaqQ2GGGSAWpzcFWoO4JJdsRv7E58eGfs7mvlDZZFBrOwgRu/9lyX3hXpme0SpznWVw7RMI8a2c26rQhD5VeoN8GyvgM/nvu4LyuUy9exovw5Q3DjQUPWlbfs7PzCmqFRg9aH52uzBvrjafuEJ7vgsOtkiTDP7ThRUNJLwGiwPz3f2F+pJ2bj+uGOc/TrBJpAcjhwktG9veSzemIAGw6WHVZUF/O+HtzaZECvUxOHcmLB5lLW0qkzqGNZhN1644gzwTX3lb4G9EhmCd37k/6i5a12tbVSMH3ueSrY5cjV2gkPflsc4UgvJ81F5eb418HTqbQ9bIblf9ZQYNlMhIhmFIR56E6RSrFoO7C2wR5kVRM8BxtZq+fnPMWpHUXGVWhEUIR3TiqDlh9ca+dT9qhwrhTarBedLA/z9wcgZ41meVr1ehZ0vH2MFSLa3ChdTIYwsEaR9jnt5OU8409I3SecNMai2NW1IFyq1n/qP3a3oBkzkBZeCvpwfupphGeMwuzlyM+vG2HIxhvM51Pl0RfFqfM4k1uAi3fN3U7IJswKJE7MtGmtK5BLiaaNp2yPBy1XFKU/yBnCuAMdFdbobFF9ZXDlK39Jtvtg8Pb0OTYMC6pdlUDZw4vcccVebhNpaIVyQMfo5kZXTfs7CwMuQFIGbTNbhy18pvX2UvfaeXopIwfZgPnUb/7r45RSOBy9kD8ILClvrrQdAH5bw/ma2xwjx5KtRc9S8kr2v5meRG+ew8PH8BYpVXQ5AI444tOJowGSSljTvvwpVCxcNjVwJRHrad8Tp8CZ6IcumfR/SYE1jEvr0X5ASRsbNq2k+sSPdXou4srJXwuTiyJzbiNHWTkPDHLx1VR21MwhJ7JFukZBW4BhfBaGgHrv2w/73KTW/z7QN5SyNcDraW5bqQ1mWffGs3cn0l/2P5qyvfNzht4ICwFfhZFuB9YJdFcNG4OMAXQz3WF66+zclVHFdEMn1+68AGAmwPETj9dnOYt9wHVk/QVXlfHfI/nY/3tvLI6oy01u3ft4ohMuFQu81PRGro7ejYtE0pF5sBYHNqWIqHk4Njj4SRIbWkd2DayLcbHDwyYI2imerprTbWK3fF8DCtYlx/mqyAU5maje0Tvv/wyik+fvn/plpWBp2NJkS0DfqFJRff6F3u7yUpnOz8ESiCR7Jax29I0YMNknxmtMW6KKQbEZTzDBzsuSjtHd9RbmYASbOgATH4RpDp3BYoqB+uBpu5q1GxHgBZw14RaKwKfwon5vcsxmI2JnlMJUXayQBNHiLgNl7zatItzSv+i4sJOuBoUOOFywGEG8cj+dIN8YTkCaOTRtP+8+XCirVqXrXsrAtVk4qd+FoO0f8/wavSONJD4DWCiMIsKwLQBgRgECCCgtI8gJK+6GdcGWUhwv2ilbtUgHDiCMRjoRdvnPA0Lw97ZkvfBE2CVlacEgaPv3+yqq+13dFGzxz6tXLiaGmWVy+JfdfByRUVYh5weyrBJ4pwph2rRs6OdzR7h1vns7Ad2S4Jdzm2XVAMfb1dVmlGeBhSFiyb5zbRKG/sJGv9b+a1Xp4M5QFbyYqIyHTWDq/cctPRLhchvtbfHXPC+FYtP2wqy7LgswGNOPfOYz38tzuewlGi8ZyBzibZslruIWgr4WhrM5UPWn20fpC8MdlWxqrekojUVP5cBa98D1JnZL9imXhJmTHcW5qjygWHGmi12kPCZ6nDR4ezhQ3KnfhbyAZ+51OZhndv8+2u7gabz8cto3305PRdU83oUjXUcn5P8JX3pf4x8LLnI5V/F8gjE0gQdhoqoV88novLMqwvBLQpAmoun2lqgws1r9HnTp8R+/EDb6FSfspz6z2OleDQa3uA2AAnG2geH0NJYrTbg8lGz4E5d0yQag/BZo5vh9KcC4oK0MCoxGGMd8BzyrdiUG4S7MUtIpUDqUj5oaFsCrUzYlbFmqlMV+B+4KBiNq+9Z9AeHzLYniuaSg1npFT5zUBTRU5AdsOsJsj15HG5l/JSj4nxVmqZIql6FKgkqMJ+y/FoIWBicQbnQgRVx/A0QCxv1bzCe87+vEKpRuJZWpPIJ/wR5RfuBOVReGrpWtF3vms8Jp33bSOUeTxNI9VP2fPwCEfXgyj9WqEG44DseJIBne38BtrRq6964J1vFsbgwzS+3FCAyGS8FWtSzp93/7g5Zl2LlN09iaD4mHwvc34PBkO1P3bzDb1pjX77Bp4os039Xa7IF1bu6pTYlY0V/JizrpAJZQz0Qf9DBnPHTidCRarS4nJ15mKYUl4DO2EV6uVolPjYh6zu3QEK3ZUX2rBcWkgKB/8OHGG1XfK/YCNZm6Y75CnvNNjaui0qDIpwgcLdSbH7Pbee2bM+qwJs+0C6v/1yuvGvUpCqrCT1icah52WPAe4DZhP9+ZwzeGS4Pf8sTuwQrqeWbsRMuaNhizrxoB6r7b+qmSRtoJHpHLMUj/p+h6bq/82g0KhFg7PEeXEUyvb0JmbJ4Pc+E6dX85Tid296gFWdZ5Yiw6byLR20vJEoyHYsi/yXjqXtSLAKUZH/uLATgdPl8St4480UiWDnq6tx8la/Vm61ccgUB4MJl9X0VB2ei0iNKKO3QkzZJET7z1MUGGPQNiW/E8E4fhME8hFjPcJQGAMAZXm/lnXg6Fmt9zVH4WiVJTH/jeREsML4UY3RCQt0nSjSJIyR2i16p9qUDVWlP+NIw2tkln7kCfqTKzsJg3nzHcsTkn6CmnysxmhMk7rRF11DlwQsgI9aHxDQHgTa/ENnno/PqiNrJg9lqm/jMbeCqCGLXFhFMZoMrzUeVWyIEf851kk+X212LfQLdGUuzA4tFCs+VWbv6uiDlzOg4bH67S6JXPqQ9C2Hq965Bi3fLB9E9PiBdrqb5+K93bYOGaDvNb47Mdg4/9Py9dTua4k0lk8E76xXx+D+NVxMRLeUTZIqCx5Iq2zttdoroQ8BoIaYm7Qc2uHsFJclN5HcbYg/CTquGaRnpoCQ/N+IZhT88305blyPUf9cSSltEExwGU2leSchfwK2ReaDqxijrOhXqEMGY9wBlJnY96wdLQ1cVyBNTA9xuLHfXtp/Gx1Cx/CnCL0Kvz9K+t2cpwyvbqZJ2t89ZXWn03P9pmCRte8zw9FSe+QdDJeqfuuLvW9wpXcn1rx6LzvATUDcgYWc9PuAGVzLRIna5smZU7ENShq0jQSTGgGMkvzRX4ComfLJkwTwrFSgq+Qvtp/PK8cyhqIUc0p1A/hX0bR1xp6m7abiR+2sPVbuV0USX1bBCLaUXazjOU+kx8ZnDom33/TSNjJft8TX6GaU59jOevGfkMfj4DVGhVi7NAFX8HESizwj+6of5FtBv97NaJQxJYSYiRcYHmRv2A8qHJSLL6rIhmvXcBiHWFNdf4VfG2q8EuUyOhf/vnUU3sK4203yNBAukxNwjlQ3V2OPZa6h5iYM+nNFus6AIJqsUG3ubuujZxH7BXfu0aClCahu5taYpD7NyWPRrrWGma1ysXf4njJlv59SPuA1nbF/1Dh7OTRYs9cB33/qP6c5WIJTer/y97zLzJbF96SyJkxfgoP77rHbxd9Yo+9CwJEn8eb1NdJQlilJiON1uy+L8E11CCbcNdbzcE5JiPF6yHfw62YfGqwwVenlhoGRkBbP5wmz9vKW7vC5rOIs2zVx0l187WyZpBDRIwnmqXE0CWOwT38xfUVx62CCuwN7+ZcnrRx2cJHaTzB1FEvGL0wSNRoexHMWTXikVdDAXl+0Dx4rlDlIJZem2on/FxdX8c+NkrWi/dV3teIBwUq0fBEIVXHVvQQ1b/U+W4ZoC9/B6bu+Lhn5MqTIj9EnOUs5+s9yCTWvb0ziAwyJgtc+AREGvActK2jP54zelMpLS/pkgyD8UuqOlrg9cxv8nQUFCjIvj1vSJhz8OoYBuSVz4Rpk5PQlP5BVEsTWzsSSQdDSFhKIy0P2/1D6+jXBLruPBABmpsOOjRSbjGsP5R+Tzzi7qNWdSfmNMwIdRHOjYlbvqaEH5t/XhShXT3Opxpw1Ot7s1PnQd1Z1ZCfJXPmBpe/BvMccStVfUygxCdJOORX+nYwUaOE51ThEYVpNXd1W634+9omg6GXyYeTBUpZg6tJL5JvfY46gA+nC+jSOZ1EIoE/0qkNRQiK5a7rN5BxQecgiWtKGgrZQsD+yniUrlTWoGlPCSWwgbqwWLMkLH+4Vx8z3Gso2uaGQngg/0gHhcXgJn2a8ElzgLXrKjX6PVg3Cjdcx/QWKV51pLFTvvUMBB2o8+hLeuN6zmF4tBcGA5M0pMY5EWw9/dh/mk/mPLMhGNPZuxyQ+fQxNT6LiLZEdM4WfdBHynAGELL0LKhUBPPlua4y/VLrKYJYH073Fvs/VqajvWw+c9AzXBBnulP5+bSGi+LaNWdPQxgLbR85RaB3Vf8Z77BNU81cCeXpsuIEBrswzhJtgohjunhyEKluj7V1+tgcXAkgt3WR4xExB2BJ3ffKQML1tMFgMdxWryVta/uE0bdbExVWXo/1WPifbYALDRYaQ78zm1xERNWn6+6fpTXcMc9Hz1hN9UOAaB07STt8KxxNRFCTe0TPUfZ3ZVXgwdQKeABKmRdoZXPKwOQCwiT8T2+USdBrmu70Qznp+eNr7ZuDP+mrB5Z8GjWLohqIW5u7zrDHIN5AVtTHUOTaHQy/HGQm/areJdFGXiQfRUqxn3zl5+5wQuCIkWJDeaadn3/p5LRuj9ooPfn6nKCt9hpIDNWB1ZioSB8fzUAsYTN+EAcgxlmR73YGxbpUmQqz4x1eHzfX13ii7sxuuo8Q26ZiXpUKOM13TOj6BmqxNbxgonbjz7N3ERVWPb+CFX+RCYNHeeHEN49wTJOsY8O1unQtOu0TyNvuzQNFxVdq2Wt3JjylsYWS+m5zAK0sywtbtQ84xHTMiQVyPWkI1fzTcuvEkchTG2Mk5knHd0L/FOr72RL5vrG9X+Irnc+MWvAUe9oFm/SucN+lFlp+VIc1SwNx3SbLDdi9CG2qRnLGJzKByMkDMITbf7qssFAU//Gj+Woye6mVou3SlfZO2x2Fr4R3Ipc9lqHFl7hVROW5l0ZmhLzXFf6y9IG0zBN7oHEVk+NQN1kWhMzSGoqX+6CVgEGP1xOkxi0BU9euyEX1OukAq5+mfjTB8pgxMn33BdCn4tX6TEFifRTfKaDcdNBP5gGfLvQk/XLaAYcB3b4pZP0Eu1cAsysNAQz715UAXSD8/QgQ3DumK3Cv6vJR9IgHxc+8pw3jvzsfhq3VQ5Li0J56v4upP9y2mvZIdVRKzkl5BvFwAgW/Th0c7wLJDG5eOco8Tytdi+ZMDIARQTYwJZAx2oiGacUdNzLPbZVyN4OfEZfM0C1FokbtLYqY3jKYLIOQ3koci9HT2SyvtO+0OC4+fFje/9aGibevA6i5uWVlioqss5PfLTXRSeYmKZg+kkhTCG+a0AJ98Jy3t3lRkqBkkD0hde1RfAwBmIDOAJYAacwyT+O8edTVAdPiFzcjEtPv7UFGodl4QPvHVFmYQgXQhwa/QPrN5sbrrrqD9wSwGTRsYr1u7rXzzgMGDg/lLZtRRJZqQuw3S6xa9blE678Fqdj7wGR7K5COU6SOxopKNJ1wS8B55Ro9o+sWJ0FJwkqpzS+u2uCHvhrRQ6cCCzEa4EJEU3yNl7bb7yf7/upl+sFrUA26/2kD/XwZRWqKseNjF7ykUxMRK1RcxWGHO4xAN5GAvaNa2xyY5mRVDzC2VLIKeiAtarl8N0oecR0b6S3yex6jO3y4ywjmNh1xR4iFR1wWBaxndfHi8UfGfX2JnFnNMKLg9OuqJKX/SzIuEbRcGzp//zDQRninNzA8vBoaf564FfnG+xzaaHH9RIYXL3+iLJ4MxMjaqM37CpvY8wAYS8vdxk6SMK3/relkztDvaTTpissnCjYpuJ2CctGiyzDOEJ4So/AkWZNAAZT4Y2dReEbNMlBa4dznSzzPP1XElfhM3NPolwnfnCgWbxcgAeNI2qZuRv63veD5S5fSfPwcljAbRDhwcNCIpzls1kPnX6diu3R5htO9q85VfAAXNydzpweJjM3yY9mGaRq/rpCEf7Ot+VVLK0A7pwFzr9fkOYElDDM+1ZETbnDKRqBL0MEYHpnZUK8bKyQPrSfF3k1qldMJ/z889dQawb2efbXP/fs/Jhf0Qr9JWeuEqlV/oHI4eu74TqeF/hcvnla72f68+017HFf+Kzdoxd1bmdygM3+KD0Zc0RBcWQtOQd2rOrGRpVh/WFGMRph61YE74ZpLq3Q07UoOEdMLlk15RxaWhhys5Xnk9KH4JXlL5V3b4X2Br9gi7vWZq6spiKEeGPnCgrlH1dxX9zDWXwvW5WpD4Pb/0i93BF0LC5gXlkxz2ThpNu7d1MCzeZr09dPmTk1FfsG8cYPerQwR3Ll3pqcxBVlK2Mc5OLul3cNKfjIrD7bnr6ISRCUrdI83rOLbbmvtNfZ59/8bNBCfMdNtLY3XqQwtAmeOMe7fHxNRVFKZWyU7yTUmKwlN9AFblag/RxZwaefaQqvN0l8hKaKGsK1UxcJLP3VDqjVK0wcK9ROaR9yMFtJ8L8D5P5xuK2bVEEzKcHqYUKfBP77zvbmwlCb4v/83h/FwC5GbeTRcYtpD8Q/k/JtaaSDN9Rf8MIvGzz2Z0oqYEt8fWGOmLHcssWvgMcpILUlAbuDc1J8mCnHnuOoS0PkhdgiEdz8droWRKpswQV9+Y8+I1wNXcoLVLaiQyLLcRbmnX0/NXJLAgJZgMqUPYZJIMG8xGMY4TI4BI9tAt4PurMGANTQdSAaIwBbrBurAeKJRNiMdsZr6FiIpQGtsSZZk9Cjq6jy8CTHJ0WIloCr33fA2SBhx6CkatIjvnFMB4jM2tW8OAcVprSEatDZNfWqF8+rs6wvruv2M8jtjTs3sBd73yTVMRv6y9sOo8rfXRbCe99MVWtiHUqd/+XD79MsUbyU14fulV+ACxVzSYO6NKqOj/Rz56duqb4sZ319qllUlmpy+zJ3xsVu2qpeJ+S3Q8EhEeEz9pZ8f+9L3NyQbsP5IrHCU7vVst"/>
  <p:tag name="MEKKOXMLTAGS" val="1"/>
  <p:tag name="ALREADY-CHECKE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U0C8XL5DlxUTXpO9Kyfb+JUU+U8STGqbHTU8+TzRnwzxinaHOgjIk3EqivEVsrRhpiXK/PxzFVG+DLAmXIYStHQkzDBuKDGGVJglnl4iSo7MZ7vMspj7WwGU1Mu2YnOyefTcwIUC2JmPLkwBtHm2Kx0siQ/H+otXpSfr0sXpwM8p2yY75CHQ8FKJXPU/TPn1qxmg5mGfjibTQiSX4YE2D6O2Q3w6ieAqmKmWobtWKZTEADUivCNXn4Ah/VI2pAti9g5MYIz+8/IyNCPibStwB0hCC9kznOnkl29fjsf7Wn6XkgG3/+yVyLngdp5qLHyXE8kqdYnN/PXwXzrYNMlHhf0ATjuiEXCTTwDP71oCEh9wq6zheAgji1s8jQuyMdILI1WyTvWTAGA/fYqztMCo2jj+xNjhNxJczRvrZI3k1NuL/HZNvuMvlEnm0SkUc34aL2GPd+Me3wx908tdUiVkYyazayKoL7k7ZwHMi+8cZr0ZKBBVPB4e0RNg68I9EvPrEyFddPu6dG9UaFgWmEYXdgvPJ2cvAwoEeDziizG0J1cDODCbg0hG0fHIgtwc7gsMXDjsaIpZW33URCYsIvdilpO+0tbGGlC0R9aJ6qp3xMvUWsBTVNQIV63hdve/yIAVmqjN/1h4hFwH42y3AwOLHeEzL3Pfzm1VzAvb1KdT2aHLk9Rl3YexTEsX75bkLpSCtX5QGWziyXCbN5zMUFYtiMyA3uM+BtkW5CYuQbhKUvIP0jitL/qiQ5hWPaAkBsfPP3fKs7lqX2H4I1Q+oYkzBngromc6ft8sXJDNUcYQ5hsmpEHDYsGxhHoQ/+v+1TyLADje3E0bhK99Ky3Zgp5yXXRJX4xXk+agohtXy66sN3D2+rEgLu2hrW0ClcuPxqdh1eFGbbqi6XTRFsl2OBJp2x3yJuWYVDcJF0Egr81QOZA6tG+azTm5umjT9vaOu4drS9275DyvyQARpeutgYbbtZ6adyQpsSQoG6ZFHSUm8a1Qk+Dlzc6ny0adn0dM0zK/ND0r7IWE/Ps3HUNcJds4MK/T+geOuVeXI7fXkrFnb5uEOEVqi9XtklGbpgFou9VKfN7VZGUjqzaqlAqm5ZbOVG5O6VBZ3EYPPtuigPhav4OYPwxPrr4dAvdObOTCcn8OuqEIQfU1H97TcFS0kV60G6UROjsHn4Au/qv8sc7lROn3b/d+SOjdeYAvlr3qGDChKbHuZkTq6zvtzz+a5PlX4G+/8lzZq8sn7ug78SiZgvytIRwYdBN8m+13TTJ2F7RIY8az+pmD8H8/zPXL32fC3rbW4+RE6BBnefP2mFh83QaNJqZ4cd7NScPQTL4mtcB7aGLGqjONkvq07WQuGFoIDm3AmSsigDgSupIAit7sI2Fwo3NffUAuILkGdB/Gxw59AhLfLBW6/WcoVwnmLh3yJnYE45WX2D8BIgeKEZrjnijh1qXP9yVvl4FkX60H9e0QqAJPL92HhVjpK7k5yfaqJWRy6RQcqCdLbkPDYYnsP3MzwXyaUelo3qtCNjcsSBxYa4mjal6B9O+GzN5CO5IhU1itKw31giAwVEZf2bAEQoSikxBtVO5Etezcfo7fB1l574FwsnEsNpCx7wmdFLdAnM4ZwA5vJyK9d0vrUq9pKQpVO+n9uMkRy2nNQKHaJCQ/CYxpqPdO2wJ8nAIPCfLE8CekKN1TL9xfKhZmpahcQk+W7W9BGXnPa+hv6EDWXYy6mzEQpGMHkqbneTJgU7uVKPom8uISe95pVIwm+b2qy5quT6AcWGmfFn+KPrLd4Jgbzln3LeSsQs3kqtYG57o2AGdQ27k4mQsJPfAnNV0ZEuKuKB8X8YNrU0x0TsfFyi7Av+xgbAW6/Qez8MG/Ijd4AX3u8stpQ4tDRFMYpA+zntMaim0GsF9JnFoMPq0X2tODwKqXpAzXuj+rG7yNI1naLEWYadGIUH7pqw1mTsLR9/uPF5kstBDjf3xQ/J0DBsnLPNTgVP0ng8Hb3HplsPaI0yENu1HgItLArBsX1fdW+PLrJh2P05v7N5JgUSUp+QA3PS3sTQjOSw7o32klvf3Lg8sWKwVB6od0aLE211Nf0k0HcJXq249atLDkk2MQbFsCSINXEcUl4lKGt6p+sKkRrxGwkNmiCv8vl4SozJY80o7PJG6R8QMiRP0b48Rhi6fBT4KyXVLcifdemfmqAtP1RiWGBMO73eKjmpWyy2u/DacSaPvPk5rzFnb7xUqJ3E/JCrseursCf1WJIGz6eN5GWCdd6ghsuYRqcFcmbRhnAejHECTPtDcl6jjYva//sXeDUEAf6t5djltxeEgg8QDxIN88wuseoxF5xGYwZnTOaXLQsTmHV0pbMFTDyZg6J46nhXd47nyAbeIo6loknLoId0S4DE6S08Fro93XJsMvkyk+CK7jyQ+xk+dabOwG90ZIkhbT6Kk9B60Tnhv/50rnBAgmMwn5dckL55Z/hUdet15xDkE1sb9FwWERGkDMGe7SQl5X2fMHBIG8Io9DOXb8tybZNRAGEos4df1+DXuTaJ/Ht27CpvllMvegb2CAoUvLS9tMxWUbkIbZEq4PPEZnL2d46D3B3XRcJyFXF0Ey1b9t1Lf3DImf1Unp6lAgy80nbnyWvm9Fmol9SJCzcLtrcIrul4s7vEo1/qlkGwPzZeTSMxfVTeSM2CJ/NW/ZcH0SkdKlliEYuQ68xM2+0sJydHLYhV7Mlf7ZhEd+iuLuBvyTIwRXDH9EqcnNSnslNLQuP6zXTw/ShK2N1E7gWRG6/6O27DcCqCtgn8yorMMUdoraOdjkblPO6maPaEABeOqsUDiFjDWFbUkgAStaMKXzKLwr2nSVzCc3QJE0tfj9gNtQVs5h9lNluC/z4nWxla2YdMVVA5GV2/qyuOjw8x5qcViBy1M69TQgiYo0koTRfCmieU+HN2EgCYPgdOftpHVcbElDBeVnHVmsu2+UJFBhxsJohjLWUeIJ3TWkSEv2B7GXKq46eDWdCLG+Y8stjvbAP7dG4twz1OqtvPXartcWDuScigq7YBGvYUU49PYvvMOXa+roKx3C/XOPVOZW6ry3jYI/+Hb5wFaXhuyhIkjCc3Qkzva/yzem8RWkUQDI3B3xe7jPyDVo8ddgoOdJBeomuU5LfvTsK9LoMfULdP83BKd/tOdnzyCX4ms2KXfBTgq3roWI8yJh4ErGBhORg/ftHnUgfcDZw8u7OzNtpNnWHW781/+O1yM5w93CgVoJzEelU21cJgzHHMv0gmFRzdc6+eYWxt69uStRxH45CiQAAzbrutCWV8tyhpWtuLRm0ngVuk3VRv6kJ3Ll5hRsjadMB6X3GJz1/3Tq5ZFY/JVVSOBpGmjdXyPE2RvFjX9jFyACP2Mz//yDQdrpPVJwoIj00KkqdmKsxJELQjUA19rId8GSxvd4ogyIuniNEmTivsy1SaDfKSfGUtDfZwjsxgSjRJSiJS4B+uv1p7UgUANkAeRhL0EBzAq0I7GAgyyOVrC0nJxdxIa3BC/ar0IOIZpF0izRtV4T0iMUvwJr2YcKt1mCM9ZjPy+QBfAWGXpdzjGHLoa7P4Oxv4wm6OoOUnn/XrU5gJOAxWi1CT7R+nXW5xCWbqPPAWllxYBM1Yp0W7XGcBdacoWdFIYljaHzQyOv8l8UsyayS5yM308MlqecxQPAkBhGGQucWsVd+9EHhq8CQQ0LB92UJB/vQXrOUWQomk4xZ6Jsc6ujOZHut/55/p1xkw6Q19iqsE7xM+cyeyWgF8zNGDab19m2Es5QocTSNCblO5E9Jmbod1oesG359Fzp+Qmuh2B9fNS2XYQRkBa0auvfNYPTs4Wcm0a4RAI00TS8PnG7HCYBRRM7xlaw5zy9Ile5l7SNwD9Xg63o6jZCHJvJOBBhWp3KjpnMc27bONh/hW4fIk/V5k8pSe/edvnZgz5vBGvl7KIquwmKyQ3pvaZkdPNcNCyJKsNq/IZpNdQ8kLQKu6Ubrr+z4ZopCrsDae8ER4weeLHuQVcXtlRW1vog7xfRyxU99ljoOPaIP9nn9hItXERV4MJ6OSCw8q1WW6zg0cVv+IceLmvilfVsvZ4Pi47V1A1NyfzT8xFqDOnJSZkzLN5gcxAlrSm5KHHeLGcbL/qD5+Vz/EhsOZS2HjAWd8RU0tUrFVPnla9XtNBcrKTCnR5R6Z+BEqRXh4E+C8O5njF2QZVyIqYQ1NuJ4NfYS4SfWjxVU0t4skTJtOMVZyO8WXyy3fgUcrhsgo2/OrJBL4UqibkE50LtOY+Al+0oO4/LIe84dGausijo1EtjNExgFSrcrLolEtDRLd1dU6gxzaPfUYw1G2lf21Jin6LIyqOuC0ExDSeKDXmpTHnOnE+NlIlltKcNPA3uhYWRZRae2Mb32sv+Fl++F1czuNuh8Eiv4wkmo6qY5h038GrVQkILhrh3cPqB0kUDy2n3G5WBXoTDsrtTlxy9AwS0Xo73+cekka7P5vWVmznTdfnV9kIiqMJYOu6xw/AkQADfPv6Xv8/IsC26GwcuYBnLVbNiMO9hJxqFoQP1mysLTfoijalkrziXvI+IduuIGZwSC3XsCF4GC37cdBH6qTEt4WlZB16EGImLG6prphFsB8f/b624d6N9DFDWqUFnXxaxYtjpn1GV414py127la8UCKKDd6+IVjsMvr1V63DNlptPVZd6t8qR1zNid/GtITqpsNOCWJBqqO+x50dTq9r/d9VMT9ymCHq7ruRngy3JLP183Zm30VKvkTi1SH9C3QOfTLOakXIzUISAICVu5HdyCoBnAMhoKwbRI+u0TgovxFzVgMif/uCcohlkikCsVq2ctYATjoN8vrwgyvpxkBiaCfstyLYD9MqI3GML26KaUJVCft01HB0QHnhwNIeTuTlMrVhuu5TYabr7sJr1V7e0za2hVr4vwp4D90USAzcLYruEWb5fQbrQqzUdHTtE/1yr8rsCr8ISL0CP/alCrD1jJAe3Q77UPd9/5nPHa67oTobgEvI1BnHO99K6Jsp8K27JkMAcIeitFjwz3BgjsX6OtSBSVUywxOGux/PlBQKC55Z3xETmjyqGa8qFTrCD502xqISUse/aUoQdBlGbPLfxyhA0RvxkUUYvgZEQ/+TjgL+BIYuw6TqDxoSpG2ck/z6TSd4EnHXCuHi9FB2ZnuSYNFS43+ykdTMBjHrqhDeRbODTItesXLAoeo+t632VORbsspHa29nY+yHKF58yn5uXUPSF+XANrHYtX5xHeGFNOYtTdYkdRJeoQwfG1TC3qx0yqsQv7eY3EBqK1q6B2VcyIMXw9K0VcOil8MabY0/9xt8Qq3/oFVgL/EK3gq/9j+cgIaQNL9BWO/mrYThbESnn/6soNyZwB9sEXJ+Qsn6RSK6j08ZjVKExNbgoH4oN4aAiRzSiZV5iRcZe7hfCqeeCIe/PY8HZlIObx/cD8W3/ubTnmTR+wmrnXg0FhjJdqAcrTnOH6KtT6gRaOaoONe949fJdDy16jjkb97mFkED69HyrvApUAgZK/r/+7dSljlEqBDBtirtZKCbemqdP3eiCIa6h7MJ4LmOO6pLuEMSeuTdOJEFUkA+ZzVHgn7cX8Bo1xuN21hV0opbikDCIGcuupmd+3/5Kq0NmlI6epuVNLYMdTGJtkFxVCWiclaOqm6m9a32nEZb+GMYO3liXDG13bcmx3sbu3gIYvEQVzzsdym8dcURS2nTJTNOqQgSLhsPVkYD+M1NizpXTBQAbKchL8si5QW9e887sv0H/rZhTteML1B3PwL7q7pkn6qMHeJejMKVhD7jJaTwxATjDBz0eD0unkkuPRJIIpcjN5d5Bgb/6o/QxrnpbWPXZw0+14ESr8JeuIMXV4QBT/vGZ480khe1F0fVBDkmVBljp/9A9ZM0/ZLRqKJbz3p+0dPR/Hwtxs+hH2Q4xbe8hXMx41KXKSaejIA3ERx5bLFr66XftfAb7V/eiVRLpbIQsHAsz9ElMxRq6jecDOev89xKzwm1OOSDfgYWrm5T6p3glxGZyrHnYsJb4VEarny/3OiAZPJMbVnX8Eeup3IVdpUg6b0fx/2BF34sjCCbZyrCm6Ulm60x2ur2qd/c0odLRqJypeSqbgAA5m8HxqMsf1vxkXH9MCEdbF0hI9uulN09HcteM/J7XNhiOHkwIT5iIKr16gJmCO7qmBpi/YFJ8riNd+tK8IyZYbn4RAori3UIyiJp6nq56qyRtcUjhNhOtIZW+3DpHIBoxn3tC6flB+8xM1SBisMPaoX2ag4IyxMkwtq/xmyNPQCp9jCozCGcVyX1vK5icPTfJOuffHvPgIGb55v/HoxN5G0ByvDDjCPkHHgalay2WRH3Iva0V+lhoIbfU9gadmpiemRQGCym4b5J2OF6ZqCY5Sytv4kFdzAvapqOLCFbrU8vZF1HAL7phkB1wpMtY8I4ugNT2fkOfQ7HZ6cGj7QeM6IApKKCQ/gwrySZM/Z2Hg3PpgNcBoB/40DBPYQZ8ihpZ6SorbeeZCF2bZfzD4FmskQShd81mIL3c1IP2EQYS8XigeBQYz9TipPyjzoS+SB7nbhKY6ebvNHp+dpxZvh/eT0r8p4lKK2Q8EmnSmH2GREyQvXg3GCJFkuSC3AGUwZVcmsYX5O0T/RfaZXTYRXpFKGPvuV6N/KvzGrRN+sfL56w/rshjcxphdccAcI0WB0JFc+T0my04c2acTHath+a83nn5qDhrLM6WZiXEsjCHJn8H+RO4pI3mxaeJboKDbWd1rwpcj2xzTar7H0mkveb5rDVvvjBdBrL83qm+LjbP9m9d88t81YbDwVMouR3uPz3GDNiQl8pZ68OBNXijIsyD1XZPYo8Pa+YMrk5cd2ygC0GYsv6GmxUARv+xonlfAYMrRIDF+apGloY+8npkgX/BCJGhTscShOJJgRtQR8wKIjAypxhmMBAgqvtr16Qsf4nIWXRPe2Oh5TOvWZk/lNJH4fjbFKgpTXdKWO6phhG/bQjD4+Ltk7STY09UMnYA4wy6KjYlmWjkN0Eum9o60XAQyf3CD0kgDSZBg8RPG7x1UzHypk/BFz/k+W9IUPcVjKrU0P9wUDezrm4t5M9NGPfZC+ZKMj/wIxbV1V9yzaOgocGZhLKYqvozHGH/n/3tFtuoG5hgJ4HG0PxV+6sdjzsxXrQR9I52sUGWBfsY6AuqDrPHKpurXLm48Oyt5nUgUxgZCkdJo7XQ3Hq3Y6yQnQdCgjnRHpHU7Dw8RAB8YHzmK6qoWay3HxKgiWvrSsGgvvSbE9t6gASLRKqjaveuIF4JtvimmeS9TzvfsN9NQ+eY4qj4OXpgcJglk9VXxSwkGMfgkzyf0pz7EuVint2Udn0G15QoU0NnDE9MmCiuXT01fglVIarofdkX1QooOfPIxSSWBwlMi3gEKJ5B0w0wzG7jZJ94jBhhWQrRwrqAw3duQD+JTuUS2mAtj6y4HC1yq8AGxsV35XSQx/A8D96mUcteoVoMcf+xZ8D1knoSezDLIvnn4raNS+2xfY58oC+O2yQQGe4/PzJWhqsjN6vv3ugTz7wWav6WcrHo3n+5q4hIFJ2x05rTkIAfaYR4XbtCQyoyfVBwP/YN9a0khzGa8VRmC19mChUXaMHFYRyDy1QefrLv1dgqhr+IGmLC7jd6/Yu1S36kaB/EZcJu/XLFOIm8zLzLSt2v+IY6CNRdMWEDYypJdU0M4I29sbzIIi7V4XvyVCV5aA9qMyM9F9mrNQ9oop5p3PI7xBs1gkIrSh+Rdy0ZntwnqjvLvOMWTj12BC4rdQA8W61RBoh5ln7sHhwV1kGo04wy0Hy6EZT+gX7glehkSZvVc6c2y9En1ePDlSMKkYfdlstO86H983T5uRHObTyjGkJzQgrBXknBOx0vYEWfeXGwVtMgT9wfbtFdLSPM6A/xNlDrIaRGZX5UQiDf9C/pf3EGpZNVwYiP1MMSjHXGsp8NyccyNYLepqn5t7Cvqq/hrmuhQXiGd6B2WM8+ctui5lmlWvN5Spts+UD0iV3n77BqBhXXPSGDk3xR5e6PbwDSEKuritvGvSH9lxfSWOgVOaaROwLFc66f97cjTSB9kO7v/uG7IGlb7WelBgi+ElAS5wPZ/bmaoF273fu7ymK05bg16K5+HrWB4b8sImituQX8E542HsjXbR//QwUp5jg/IQRskX0cfpWC4Jzbx0iADC6v3ItPFuUbSh1ptsHzoFBIA/DYvLlD8AJLvIrWfNL4Jwc+qM5ybJknp7wf6JEK8m242VTTt7T4Y6ftaDhHV5aksFfPKh3d2ORMrbDl5wrXF8cW12bv9lB/suF1d8ZghoR9Zg0MJ2VRs2JK3oDYCkJfkEGhxpc5YoBJLszsEgOlvt3ofGq3rd6TbVuK8cJyTiDotfiH7F7NOnw0AjwrtrnqhzbYXwKawoZVXiLCTDd3e3Xo6D3MDUDKC6LBRzbvtUjwzAuyVhxxIz2AA3kJZqlDkiiVlm0ctd8Id3MobUe5tnaA5p7R5InUeszh4zolKfxCbW4kygo037jwXEQYiZswRniPGXkh9KXng+9xKXUW6Vo6tqhlp59jvBaA2/0cLrV+tuWpvaURNp7TlyspvJsiFTnGwqi8kmruSAaKZ4cwQpTkeDyV/iyh/uHXgCeV+Ex2rZDGOCJNGZPEsXLk6oxKAZSAh7GHlocDKVMlkiQV+WbTUh1jxthxpRxP8S2rr9juOW5qgHjgVpdCOzihjJkZC22ftTFMhbVF8gyPNa+OmRoBt52BPemF4gIg5hMSJc5K0ERIGkMf4e2uf4AOzQtPOi1tmgpYtHJB9/rRzauoDKpDblrIuv9KpkfdAx3hULby3aiMM4mFMMrY+NXUA/CIDNIve9jfrHG/a6+QWwt9zt12aMNbMdxjF/8+gODENlfjXUvxwjaUMqEe4Fo372PIbLyFpASkzYr2xISL3A2tj1G5odlkXm0Bla4gL58ttRd97fXDURh9PNulTYInKczvpcvcugspZYWBJsxcZzQPN/tcYkFb9FrC2DE9BEILbirXbvcr4LvsFNP1wE1Ldn09F+n5XaNwiArwXpa2acslYfbsGoBmfmFjpDpRqW7DfhOMajilmNrWnb0FDqfFhHsjjDLQ+ueNXNeJYIobvhPH9FAC4j/RwDlZ7OKHbzT0s5Fsuaa1LVfcXp5etpf+BRce+nyqsynoNZqQdo6y8aIGFZw9PrHeqvUYyxWmEi5xcGyz/rTpgk+FeUnLWbMr8kzeWkl9aaOqB/1XVelaRCyRlX8p0DOS1Zzhcl+XA7LRg/WSgIOD2fknIJnm+I18rh5c2yaKfhPRqwk7WRxQlyyboeTDEolj9Q1p8xtyD15AZX1OVLH5vdFl2COwFzgFmfCXwlCvOHanJjpDeyTDXcL1XzAkt4bwRamIGXEIMPtk/lL3ctKugwKmerOWW0aHP3ZLmZZ59ioaSqOJaw/0vHOEORkxbfDK+L7hMcfTIL3lqXFbzejO/62/XFj/H2s8cAKw/Gb5pj43GZqgfcykvEpsWAdODEwsQVPXGGVUOH3bOCDyhGv9OvtSW555Zr3GuR2VOZHsB/dyMCqQCQOfktSE/UeNapF5G7cXqJPeKVXQgDhvV/CWuLvBFJmRLkg7vzvldRZFkwjMa2lwN7iExm79EXcLFtOdqFgx45rvE/0OTdcuqA+7sfKjJgq6o2hcFL2+q/8ABWePo2Ioffno4ix6lyVwaegVj8bTXLNJO4eCVm6ctbDJPM17ci39sYHjxBefb4WGKJF1PtCfQaLjjh8Yy8RWi6hsFw67t/fFQ4ONDd8zLAE/KvynC+nMNTpsPYKEPBePQdZ9Z8EBEWYEoaV8nryQhG1QRcR738G1VeWcEmMySIzL3Pm/y7HvlO3hNLXhSnbi7LVPHbGOrEG1iIxy/CbZQGTcJa9kaEq0IILxMuKwSNRF/3JJRkej0deASvOjb4tLJsS73xor2W32HeNidVBN1sgcEGcxIrfiYdN1yMUO9iGGmtWMTu4LKrfB8+zyimSPcCczOrLaD963KBoy8Il1YgQhz7/g9z7+/8e2QNdCzQx4KyvS2OH8Pb+Xw0qIx3zF+HKDS2erYPyWF45e4Foy73R7GT9R/8NiDvxsgXne0BC14IfmA2Vy2nCK3kUNxYucdy6+S9VtMtZHKiEdtDhYjw1F6EjRUimwbDkILCGQOjTLuCQu01okBF9wNaoOEK24ehY3VsQz4OPNZBSRiBovD8yz8TvDTnIrIgJL4vWpv2JYk2HD7594VyMMv/547jKkU51CXLjxv0XpDgEsXN1+nEPKoDcBd1KAKwILQ8+S2cElaMw2XzikQb77YIkWEVQP+YqL3SKzphuFqk7BsA0o9OsNHINlB6psqV/2gFR+vBvKZUi+Ks9AW9xVaKABCB/ua7Rufti+sSXdtW8vAYA2dMaN2QcQQOh1JvWfqGKtWGQ8EZRJ6qNXk2gRypIRXI9Ub43n0vrdNdtHMkm1LhEg7lhVaxw4HfYnmQ0a0dTRov540uYw5sIC6/Sc5BfvJYZOn15XVhvxA0rp3fKfHOPN5gM0ZIZOTybebvah79RDth0XfmOl2sIspE/wlv7QjyP1BDOwad1wLC7WPO9glIh9HJE65kS3RQb557fSGP9NrzYezMmKPGge4qupSb55rzDPi8KrnOguhsWXCRf6nAAiE6hLj44NyMFmA7hkZF/IEas/zH2CSaNWchBb3c0ZGNqkIPK0mtzt+sL+KJpGLE6dJf+2oGqzDP3YJNa2npaBigazP82mICcWiui4vC9D5ywIiy4uaKxrlgDulSAOTkHfUKpl7TWdnKexreplcT4IhmtQao5BbetHvUPvyEsKcK60yn3UIM/N5QjQhyKm7ie5h6V0/X23UGCXyNIf5sLXlCFs6TaJ4LFuo0JLRMKfYZCwXHGYlQZXZdXU4UPojycYh7ArjixXxnr678SM5J8whnWoeX/mkjdr9yBZ6L79tmTflMKd0YOM/xyG+1tNu33hQuX5TbAztUwFd+HG+9vHrgzz00Hd1YcJUz3G8rNz7Aw0bXup0DlwuW83mx16b0rTEnMMN2AB1oPrOhccFWAK7+9DzloFU6KdN/eyZ115TRs3o1QTmMLQtE7K89OoY6Zrm8BbpXMtMabgy2kpIr1+1oPIlEtPn4cMzDPcm4+nGfP4wyKMP/ZAP/j+IgQq8wQKtvy+JYhsm2lG5vNEvxCQnNBEi4jrT2+JvcxS9RYtUjV/kWg78pDI/x8W4wQWm4oIdToD6OWBztcB2UncTIGLjBtzgyzpMmkFXZdSksiCyLiu/0tcrM9shKcBASdr3e+O5M5nG8QF949LlfJo2ino2+L/Gl6GEsO3KIQKynX4rJnnn2F7gTBLmZTV4sS3fHqpd6X/CQMIB6COSiORLm9GdWOKdcSmA5CNXza4f3QkA4EIWrCl+geaBOpKFWMK4Y3b75iO5eqTKpkLE8aHUxF5iPKMaDQzml3KNlyXk8IO8pf0pt3mFaA8wd5lhPV7TAgVXKCCiABRuXaYOkUm0/n6k7Zkkj73xmn2z4kTYwkvas+FLIwn/XSihDvVyaOEWXSxmySSS0sblDawKFzygw9ZDH0j6Y041B1Rc+HK+THp2FixcqWnZVidMS/4D2wNH5HanDUMcp+tjI1wJ5B/GCWNhS43Q1a5k585ygRVv1451aBrlXR2BxgrFXERrP7pWGBdl/H6w4XL6mTlDdkgMA3+pJOvYacqVb0mcLtyQU+NKXkqPWARtzYzQ3gvU6/7jMSXb9KXLzru+zchxpkL3THddnB2S3hhiXRhnlotB+rbcwFXcDt0zm8bh8vi9h8DuBcqgDTsCXLGKWX7ADvDT62a6D2wFXuEziqansUgOr+lSRBOhM3MqIgoc1cCmDqBKnYoSnS9Upqb8xy9eSYZFry4o0pczppDKL7sQd68yux6+naSKjZ6YOLze5k4bMo/I1M3SHa6gfZiCIl4LmatBjCQtnc6vYivU7NkBETwa3BfSpJbEKIx/+7In2Kbge+LmL2z8rNVUsJPgHL/rNn0zLwJIynOaf+SsMs6cjZfp6AMcMZWy9adhLF2OHmFM7xECCxxt6i3CFIeFHOIftC5qBEFDN5k8MYHk4pXuiDS/4m6jHLh+SmYfpCWKrCmdJoyhEYfDvD3wmj0qVkuGw3fco5FXoKfh/Mo8Arm5eLB1wOTuAS8AcIKBnYHdmPj2Qm2Ukt6QN/hI88A8BzrzggtVfpuWOZuZuQwyKZZDDPZIggXHa030mXVuKqk7CxndQ2kpDsNiSjag0HPJJPoeI3I1SiUU3vGXkWtm4s6o1D/wkhkljJgcztc5/RYobipTA0z5ogzbE+6l2VKYx9zvA57VCkaMVfrB8eoufdOXhNwuOVOY/ctz+S4J1p5e4/o9zcP4C6mDrdJlMD1sQ9StZS+FTVwOWK7sW7n/eJJY7xyH+RearVnZ4wNEy8X+Kzgf1b9SUCnYNC5ddCNaUhAWqcYJxaGCX0FyChusiMvmoSIdIW0Xg12sZcVCxUC/WpTh4lRwnZ5axYx6rDtjdnyV+UjN24kLJMfT17V81NO7ydErv55iAH/MbyolqEizdeJhadydBRbKehvgyMSsgaInoW8LqPCA+dPxw44UxYU3rcVjSesdgNnSGBbexRfWon8A9PCnGFjILZue4U7bP9crNP9qnKv1TbittEE26j4lmRKUiH1da2r/frAwgzg9Gw/pdGRBKRCNOscQtWxwOhRfErypzi8d2gZJm9F27Iq8NlbMWYvSMDGzEP2sOc9usK3EvV7H/4ehciFL8jgrF9HCxk1A+9ZAGP7vjV8UQFg0tFsP+3+rh27JZYcRU2jTfQbff4p945KMApDQJltI9HRMpHSt8w7S9iTotNkFI65M0Rwebsv3lTj3rp1mgWUYYmV3HUudgWv5mWN71/pQLH3vE6YwN13OO7VPFNPylqyGa159BPPDptxr24tQOyls/BvqImfK39MLDA3ImJQIrgKff4Sbjgb1rlyqUnutdbNwyhQvlpR3F+ManVJRS89JtKm5VZSQAfUWzZnuiXUITWIMaaGRgBE99HZ9/W6Im+ZRj7tzg3Wm9U81IXu8NKnRQuxm3GLhZBH5895XW6Cc6zseSA/wi+w5kyFFNCwez4qtAkVRINGAhjjsKIZO1QR2pcR9kM1wRmXJ8FsZK5kwCDTlugmmMd/od6YtHvo2lEkplbtKKwodchxGHsda9q+waW7obAs2uu7sUfp5iUQ9vEyUwDaO+IfrrQSH9CwKyz5GNdjDoIaDefWW8WHcF6H2VT59FteZPwbV/Udk3uf/toGUjIso0swKArQBx36XidOBuoo3xyGFVzbhC2tLwOJNvYzMZCdSnwZp4L8i5Etji5h9g8OigBrTI8W9dYO8+cmRHX1O3E9ONlQL3IvM2Hz+gsu9u163Ym5wg3TY4D7f4h6EQt9pON/Bb5sezwqDG5lDrJAYkbo8zH0GDxW0poJvE4v+6nO8QRttlefJcc9Lm3yG37UL/pDCogJcJjg1vv5dVo0WGWAsxprOew0uGEkfvr4b8YVdChSN2bKLdupZE4IPUocE1nusyWRGNJg84DL1f1pGsb2pe1FOxyGpntQLUitEw2dc7ZCdxsVtcNkJcva88A99kLZF7ed0bFIb0CLsMkPl6dtlhQEHNIsTjaSl37lBqtA9Cu4ka6SpkTUlDWKTVwLNBMeNL20XRXyF14Hn3ON/NPJsAtwrrGDU4yv8id/E6vFfazFaP7yvKGT+zXQDbKFgBm7pA0eqCuveTw6Mmsx8W7UJd7wDSM9YsjUfctBL2t8HATNHyD+rzeUfKqVy+i1VZXUSAY8/MOygkwmTX1URWmGuyJzPNaiKbKgiV24tzZwYPu1iPYaWjS0C0Bf9GHEUkmgyZbXotMEd6H+ZGjUpeO10k09OT7sO5GtCIbJWkfrZzsmugI153EKEUkgTdXiYdOzSXrwJNOBhbN3BU8OGyWirI54pBIiArobOpm+/QtBmjM0rlois9Wxb+q9KpEFZQ5GqhVP4T93oeHb5Ks7mOVxdnGBxjkVMCoobTFlO5cOyfSYj0OKJK+OE8A/ahILVxQfdQL9I0aOsAAOOMOmlj+2aFXz7p0OHUe0gbjjnHLDtymJw8ubwU43cAfRRJV8aD1Y6TJJ20exD4ym0QVKRXOXxUppOPYT36mkagIviSsSp27WTTJcIkZ3PGDD4dme5pUUHai+JCJgN/LfoKSOsxIOyrvcN5nSW/8mXXY263CLINXlekVrrBSHqVC/wrmVUEgqKqtq4Vg01lnlrqTuRYF3T6WHmWp3huuD0OcGfPx/AKC3Bm5H9yk4YBEIZzeee3FzNYzoOPxrY4QpjTfJBBC+wsJWr4s5ZzHHtVyXfTGR/UUZNPfnPI861iBz59jGMAJFFQxQYyqUADOXsXMD8KjiiRPfbWj0JogrVyHuCAbcYsR+4SspSp87D2Q67TvxhOEb80dzBIrgNfp9r3gSE5/L0ItF5DkijZGkMN+N1zOH+Gf2ttSzcPFqQDb14YflfqDGWiZOiR9N6N/+KECQXxWWmjaYdaHxeInMGafPjxBJx9KkpzbhF6dlX0J/h/cf0OAGjvZo+9PRAolXdMBD0Qqj35E8QeTDSVgkTfy31V1CB0mghKVRhDAyaVByCttp7CbvZiPrIqG407HdoUBcjcw7iSINsDmqyanGUYv1v162zQMBZLoa/MhR0joR/edSkbOPhSU1Xhf62zaMXKB7tI9+jNsGdiujV8Ra9w0CDQDXu+Wy6/ZiByCTChYzG3EM20PCt6Rpc+oOeZRMANct9LbPdBbAGQxKRylN4jimZvqVlmlBJutYz6LnBEGfI7rmxO/kt/gU9FVMkD5azDA6n3zuQ/e/gsZM5Hq6O8hcbDbZmr5/jO07t3ze1/IzQ+Kke0dCfLB+H0Tt7qNtGba1xaZXXopqwV8825rFzYtnoAs4UC/khKERCUkweIbM3GKEcPzz54pZ1tNXerAwvv/WYPMWbiP+DZruWmpKakoTP6ogL7rBdw4lqpbBsLdisdk2gDw0id09hvqfbgRFosZQghRaAf3L7wa8cwtoGoyes+t55XEkHAKmb72VrPb5NQRChNADWDSQPvavyLoNaZWosZssGHxmHaEklSSAMcYNbCSRXzT2PV8TpoqFCnxUFBTwyiA8lQ5wOxuPyOfcxk2irC96dtpKRSqDMay6UPm9hC+6HfgSRKzT9/hoPXhfczedO+C0FiD//k7JgG39vHlDAKxPkQMsHI2WoaIhVexA1lfoExEdRyQeQcq5/tET0XWxPORCLCp+jqh57qgUVcI6dVSc3CWt8AQbSWU6Kn7fJAnKj0u5OvOcHybI9yxCpG1Rg94Kf1HjcdYzg+rOAopHc6fVO0ijQgmhnBJwkbFUJaL+8D1fq7KX+exvq0tApXi9TQj2UZSBzTtBXARtQQMl2P11+00UOQ0nWyXC060kn9j8QsXK369apWx0C0fndUrK7M7G0VBG5mxB8ZOQLuJRhL9oo+tnj2+kOsyKMZjJzOFQ21V0uO8iyk2Ksv0auVzou7JdL/CRvpojD8qYUyRwYGc2nLe35uKp7xbdeJS/B7ulARDFN7DqxUPOxTGZW8r12CDPoADWTRzEl7eoDwiXcuUxT33gjOcIwCRsIEv5jvLXh9mGSoMtcesNAaiWZCIvVUuORFFRG7njHvNXVTjB5D4vBbzbl7qZCZi3laPaolwPp3XPzLC7sCOrV+wjddfcSzTQ1Su+O72kbC+mAzcPmZc8T5YqGIIOgoaba2wAnaj2YnRcvwbYNcDudvOHcveXVTWw9ef/RWDwwLKWIWnjwOnyOL2Z15ETe4UMxj5eluAPUH6TamT7ooMwSKSvpZ/0gNVqZ+VGEKE+SlelbLo/I4VTRvPs2fUyFdhx6VFn87oUos/RiBjkoGemTimOxGplyxx708B7qECDFAp9IPQABTTnX7wj7TiP2hzhzREPxiboxxXBr22U/EI3XmQYMgUmu6AvpzQibjMyn9jBo98QBBaX8kwFKnL2RNBtA/Mdud07mW9bRmv6kALr4p3Dt2ZRABgfVXtbrHscEtArnU9YhvoEdBffUD8VPkxbT2/NNfUwuQo3mMC7uTa/FqCdOyr1CXbTmrcGTMeNrWzAQ/03lMe5eG/iVm2KtOLTGYnVnm93grnSOQAIY1Xuru3Q1o9KjQqjPc3rJIzfLWCmZD3qWQl3lEiSa03LfpvITZY3awQP+zynOAsMkXtarY6CZveMxYPvp+oeScETCwtCFAB892mzmzlyk8I//6EQ9FEMDZnszmTmAjcbAWnEbWgg9itAdWXi06WzTWEgpJb8rSvUWvCtoxokR7vSmEKOCHJ9t0J24O56RSGyaDmwT+8SYsh8Q6hJ3yYwnmPAGmRI+n5mkrqRznrIFdPrAGh4CrADVYXbpbuhs60PSvC0YM561lObEH9TIIWLA7EhfE2kRIZJ9zEZhMN1tK85igMgcYAAY2tfIosF7GRIy/r0ZMss0aiVz0YkW2JtWnxSQ35hxcOGfVljjEi4zXvJiuZhiIGa78bahmqcDNZoEDmgzFtmzyYGz1z5+P5Tzxz/P8d9T+i1gXPvbqf/Wf1/wi0NIc4qsf5bciVM08wtUFQ6XJ0dbxtlctggIL96kfoTxwPGgIUeqrOP7pLAnlJXno17Cj8TED8DwIFVKmj9detu0l3f4mRXPM3ukx1gKbGsO2Jj9pt3wEYK8EbYtPK+pSFKHOdL+eaUCbrCcEAdSH8gq7uQHb6lOyIRZU7MfsWG+8GwILJrQZgrf0KvoSVY9pJZT7HWgfanBylMg3zefgtRMJVBQlSHskd+YjD0fTws8Ztw6+Zin0hdI148snbnXbpzFTsyS6pCyOYP37FF9/neMzcsnVTkWwZtZKvJROHhlh+IO+TSijRaa59I0JoJjs1qKcGiE/AK+ZZBjrSZAgi4hLDJIUUihid81AAAF2HSu8WoTxmhwCzVc7PiHIY0unO50RbMa54t96fJtOskCsIsfE3Pg2De77vDWWZBHgkITB9QqXPcJSS16yDKjhXTngliYLDWTHG/iGLtj+wIyclHl6lQpXqe3nJ3N70m1UwZinIM0vQKK7Zo5Eo9MyZKN220VuyAfdFi/0JN84WWQJUlkW6fQ+/GkUNtWWaL/xANNGAXEel0G7qwiGWIjsrveZGexjATUyb/kg1lxyl+VFkfN3bEIQOUSjHBKCqw57BELzbhbGFFxRt+cbZtDPL2ridOtNw9Lw/5HwbH/qCvRmoPBIaIHTIeLwRBW/Y/enFzogxUJ5+j1f6MjKEIc+yVS0mR9zXfnh2jvMRAfHzxLl7dNlpJ0O+J7C9ykjVBdY76V+VYRhNOkLoxUfyh1X5WVaIeH3SzLgn8/lRDQ7sYp0kkydJhqYLLzT6zkKsFFVkoCSB+ftbhluwXLUrH0h8KCZW//+FjMC5JmVKXJYxpXH6qqU99R9noDAJbrx1SCE1lEYkPj6mcMZGmYLWPbjh0WBVx95yXLQkxzTawmRknHFpJeLJ5y5rAUfZ+NJ5HwTKsQBWjTyRyI7XTR3W/n65B0bIrdM5rjuvfVcz0jgc2dK4xuIjfgELDs96O2uf7GImTWE/5+PRUCbB4JMCWou9dC7hPevEBoU8QRq9P/HqTXpDePRmW8WURdjGv2gXnRUB8ur9s+/UiSz2qBrO1esLWZaxu9vvVzAR3IwFbxqRImIhg5bs+EmAJmspEeDvIFDP+2uA8RateUp85GZi06t0PkGGtra9ok/zqMmk7UbmxMkQl80ih4pQwc2nb5eTCaH3jUt9DNkA2IlQhhI0m4xDPNc9z38dYQxPUFIRd+1veirDljL2w2ZOfiYSzZGgyHePgbQSG0RT+BO+OpzBsk4sqpswul26SiMQClDiI1/qzRG+N7VAzuM9Bh+RAl7NZUcsiWVL/355Rqxi9LL3R8W2vCbCelWHEQL0/yVpdCJArv41kpYzCpWwObC2MImc2y7n2kgAOXo09HUA1tGE/rv3pk10Gu+WifCXOIOpvgb4L/aigrQZ8NymBp/RgCy7Wam9UGBalEl1fqfpi/ygGcoF3yJBXrSpLYX4MoatsCWfy7DJTEwg1QM1RFUeYd6YAHwl22PX+WxNsS9Gm4dz6GpK7/PcskDqIhKVpDoOQet9pair4VSJvMRnJVHlQ9txnWbL1oBIrLWDKDhZVOcPIa+TWyz84CILbnicw0HvH0/oFxEBnbX33+YNgovqIw2tc6CjQQo5aA4bjtmJCE/kg6JlyCw83Q8gArzceUUqwtim/ul6GXB4QQXMRI3BMq9KF/Nn96U7S9lFZwDNcF10JksBYKgG9zRTHSy48tr2QwudKidjMUzMqz8rStipsGO38uf+LkibsLMfmZAQxehSXjWXf+QpuTw72AZNd6aneLVzdlzph8XpfIuK+MWKV/iMsNyD4aBbey7Sj6Vk1acRWxJUBsado+0Ut+WzPTRpfaWfLnz54EJEoVR9NxnjaK9M+cHGWy0tx13sqZ5HdYuSsAdbdjud3tqvU3TdFIGbEWQemA7BS67dQv2LaxiJB+kIPQ0IsZJ32yl8axz5UZfKsF46QcNrcncmV4LlSrjeIw8vsgRTc9M1XY9GCw6QrWufto2Y0P3/Mxe8cGUGZV+LSJB1ZPlolofiRBmUOUvZRcNak7ksAIvRaPM012qLf3qKqi0BVhrds/t5dV2qctt1ycAT6Oa60aMRvjeCMV/lxXtqQvfcEjt4q6eU9JslEv7N6VZQqmgvKVWDzsNa7pbXzTGD3nUNNDT4yeulr/yJpGVwLD5HeAp17ekz0ktos9ArQZXImPbVEm8pZ67+1UEzzydkQUbL5PhGwPVqseRYrrQZygRjN7HT9hBI+cveqUrX9FMNXZymrTl7iRxwFDsBJBo8tPxTIRRrAZFVtm5irYhWIOSoGFgsmoE1d4CckANAWfMlplB3nj82NJUfN+/iXfp38mqDr8N2gnWkvRlTpbIQ2FqWKEt3HyO+BNJB6GmxfC4mcteirCziNCirDPRDIJn+0ipK9pMlmqUTPhTu2Q0oF8u4KxAgBHNfQ2Qyd671MFympNfchj7FfzidKsrrUyrmsFIP/45xkY5amTWU7YOVzYIsX71gmfYLJq9OCsN8aV3xaQK7pmGoq40H6Q8XZDkZk/3pXM4jEmzLGYTax0DHqoTAYQq/5yNONYKE3mvHrvEr85Lf1juxLwia+q2X+iwEcFmhtxzcxTp8H0dO4cCzSZQIC9msupZLG7BtuEK154h/ToJCGKER8WKHFqL8my9bMc9N6YgKgN8nG4yb4U6Ok8ea+ewjTSmjTBH5wtN9M6Xlc5HpUoUJJhoHULdL6yfJiRCCQ2mP+oNhi7WJs9P4bIstt8IEOIdfanJVGT7TaBV970WHKsFFBcGDjboJtXvGepodiH0TxcwM+Xif78xUTI/cWuS/9q5IwqazPJIQx8bZARYqBUrd7mXRsPukxVTPKZKiudXThwALZTce4JX9fR8TbKdnRL8pSr7+kpheDo/ChMC0go/aV10h2XJzBz5e/caS8q26ghYAO+4hYAhTOg5dTzR2V+LCoagQaUctLr3wrPbz9DDTLoP8Bigs1NPX5VcKQIDrsyO3NT0mmC3w5WtZ28yS27udzelSH+jj2XbzxMGaLqBmCzhgzCe/QbRL/cWk4b1pyDRPjE8WUNlIebPXpUt6Msg7V2RUI7GBbkhklzhyC+lHfvBOxxLU8BJkMcXWMTeXglruXvncOlU0P/cZDHZD7YuWOOnZ70win697D99EBbmRVfDB1nw8eHwQAyaRbCHUrMmj2d6U9gW5Dr3c0QnjaqzwcMas6CRfCLR4LolFbOj5TP+ifZSQTd4tEUTuas1B67l7/wB4qEs1Gwo6uhITqQQyBejRzR0IHzhIK2OLzn5hY8FMv1U0ZzUEpN+JXNnZMzox+XeNUntcrbl7C6essSmhPtDumlZCKUt7my9NxfROannQAgQVccZ5s6uyHUeiOK/m0eoLefaEESGs1zqxafGiZtf1GpMDCk8chLtCOZjb/PB5xtVXZPNULN25MozjorpVHwk7A2E59K4m5ZkYSk3N3oJbImM7gclILd0d2CsHOH8VHlLeqh/aJfmcCvVvDvo/gYIPO8noJbr6j/Owqhnt+hgWyoEcvIXGkn2qs95prefGMsnsgx1nB5qOz52I+kDr6EN+6CF1sg7O9Y/E8X7Q3wADnU+4dj/Bk04+Jd5XoiHdpaeYvxNgdv1L5iYR1OxXVxnEWybXQZfymTs0Zy0idw/VL2yRR+Vq8TN4IgkR/W1ohYkDlF0h+u6CwHubp5eQLY8vquY8ad3w13VjswqN1ieWqj6BEZ0ZrxrI7/6P6OH5QRr8/HixVG+werEGCCTc++gK9rE5gk3tMQ8WusFjCED5Wldbk8e3WcEiYZNGkG7ea/HPgLdRsQgvbiiwv8TGBOH8dOnuhHhlTCAkfUcqqSYi3qCHohegoqAFkSCRLkGghTRAm/v3dvfiAcgBK7y3sitKgXAC8S5dqvaHI8HajfnM3qw8kWw3mulbwPvbXp1XP0btuy42Cij/MQ0pwC+46b+Kg7y5NelQ2CNCdX18nolhtJ8c8rGjwKISSD4gO/fj7NtsFxbTyg//qUyghpSc8I8FhsoKSxmG2KgpjBDHkooBo/tubhj3M6zbkgSbnsRryiEGhfy446w6/eJnU39p7Pjr+v2iKpWCC4nZDvT+gJ6fJGmSTm4qakB025p4+xYuvMt5gHjGg43lE4oSE8hnLoqFNaadrvHN7Wa+fUOC6l+QHBQCr3lKzWxZvTT5fChgZZcPPg189gtsykBlI+Wc6ILMpfLfTUX4XciPxeUo+Bsht3q/fDEgf4VoED4GnvriA/LjqUi5qyF1xWdLqWZAnsH5vyqJgHffTYXcV8sqpSlAZqqFsCRlo29NHlYTNguRL7VzuojQzdZ+KnzNEcFdnSrjlwGHXNiCvwBCX0K1PDSZ3OoRcp7W27EnC6aK/qHMn6L9Zt+M9Q170ibk+QgFq/yDhDqc1Q6RU1WjCsaacD+V9PInet9gRwGJnktPlZUJkvVcHRIk/sDgYSNa1CXcYMWcWostvgHTpJO/bGf9i0v79c+Az9VhAPBHHqyN50DHq8kOG8Y8S3DTyJeJj4PqsiZme/tq8YgvmfyxKYxYhPH1EasHCh231Z5KNm/fDmtsBiTIak1DZhfFgufCv/IUaR0ftGGhEnd0T8ETop1qpOnhUoiKwvp4d/zEB6LjsFCxqPUIN1DF2vDjUeLD5tkqbdOdjzup4R5KW/4zqOjGWJYAe/e2SrzN0Jcy46zZkvCnZ7+ykX2Mx8I95T2B7znZgqPBCXVEVz0r5zL7lUWwocbffHGnsUKBGsn0nvfvju6RBJr2BuPTMsuljS156TQk7fu3yagRhnRPrarUalpWR23AeDj7fT+VtiVvUmH9Yyr6wiuxJMe0e6G1esBNfX6NwS/YUXY22PsnUefNzm2duLi6++5Cfj0GciJugC15TNha9yNE/o/6cCvJ6ZG0cvoU6ySbNFg4TLmQOXoe+QQgZByiIgj2fFm65wp4AbqxrublrNqDlUlyg9M3A7+AtckviZhZkhhZiek93sz1l/Fqmc3b5g3ai7SVSOJ/KhaeLBTwRMm58MHxIVaKvfv5bMMhVUtiF7Jplj9CFEakU0fjwkPYEc6C5am1laaSXccUgcs1ckCSl854T42NyqFg29bu++yASqIcvWxmVZV5K2DgS6qok3GysIsMR05ZX9G069bWtnM+HL4v1aVS57g4cMGoJULC25euaXMLWC60FYHODQeEcGPwIAQBIRwZ9Ej8LLAPczFZucuyRBsBg8nGxat/TQT5ZDLVygJdnOyqlt0RVia0nl5IQNJ7pG6A6SBu44Zio0aERHkI1zg0xIwU2Ie9H47+mklwjMBwde7+IRlmsP43XGWj250QMRgFtp6QvmFvM5fmWnYqUSTHLNhafDlxW554ECC3AIZchEkvlld3AE83iy1ppH+ItlRuGrjnE+wvbhfpsTgP0v8gOjJL6wWpOiMUR6TW0rKy4xYm2/G0STXLgnWJwKgPkyAwkbB1RN7VC01argq/MmeJFOh8sY2V0phSwxq+Z+dThoRvddPtjgiFRlQDDDKBpHEXJ/eIQRWg/QRsV2wX37rY6J08sAhOeaQT2HSy7TqcwXJltyQan9aSQJ9Nw65Hn9UXkXrpJdLzO2qpjqq5TNZHZfuPhNJW5DhaS2mfnBGE+T5r36MRd5dTX7c7CP0RmaeIx+IJ2DG8UqDp17bweRg3XnxSKUuh38mrTonRLLKZMTd3G8RZu16odS1nE9tGSfRKDdWLDP2WtwOHMo+x7ED86uKBRTMb/x1dVI5nArq8oThx7zDTULtvGVdCG5DMXFDzTqWLAt8eJTZJv6DJITOW4K2oaQ+4vh47/qHdPg9qkalZwLHJoIuIuLZUAJWCifaaemTvvUamhVxaomsty3qfqWikO5btJx7dxAwDeQXH/FHmuX37EiPuYpIl1Ub370Iv8LG8lWpFpa19cNNm9Ye3q+TzK+50HocbgghlsHZ/EE46/IrV9FVYK2NZGfgOVk6tA6vnvztpeXqviz6gU2G22r3+5yRJtk79S/rTfMvPKRR2nuz3/hXretKdVIk8eaGDkCCTqBrU4s8HTzc6/1CsoVmyEqzpwaexwA5t8c2NSq+v7MZVWyiStNP4cG2mZsJMx54bIEv+82ewBy7zK7BghNWTpICO/L1lLbi2HDupqVNsgf8FoB72xLQfYkvw9V5k7KaUDVwVf6Yqv+w5Z9d/Zl1+jJ4XaLl1BW4l2TKXfcrlxFbP2nkjtu+zdxmGRyDZ6IIQoYQswTi33qeX/hqZLREHBC4ejfBjy79IhaRAcjHtQwpO75NNDCvItNGdX4ID7jEUH9M2by45w4bnGhr6zIOmns1rMbkKk4yLnTccK9CW6uZ4mHChetqe3wkUYEFb6MWLIQoMV/po5QA4klVwSITtgylPQwS/1gY7Ldzor3j/OwSl/xvaQbgSMtQ/LQyEFFSF2Vp6nCbkmq5LounylRjTmhHzi5d1WpTZQGYnYkoLD+0xJnNW4f/oqiAtL9LqigGeyJxOPLxx8xnUNupYwN36TT0z3eh2XJWD6rVQCTe/dtAXMF4NBZ3X5oQ6bibr1TdlVk2uGz40OT8e8jFsARAJnVZlpz0qY4N4oMeUYe8axPLFkWVHXRWSuoMTviyX8DAAMSkNOgd8VUMvW/cxTUGQwaooFlSacJM6wDZx3zBuQxuA6bfjaT/ME0kkH8ETV8amxFGd/TKNt95VfGiW9Hm0j98tQzTO6yKEUwfeBk8rX6PWhfj2tocrhibIrrO3eW0zPHkIyr/GUajDL+bDC6b9/OSG6c2m9iuPj5Zww9FCYNgtR47zOAQhSYMd2pqdM7v7d3ggwPej+c8y4tN8a/hST5Qlj/MqHP2bKoDPvxttIAdXrTg8AKJdeLcUygBA4myhg9c4HmN/Q0gIHpJoQh3Lzr15Jw+nT7f2SdijRsUwFOLQc7uDqPtogMcfOqD3C6GPvmF3h/4O5iXtZFZeCjBlwAow2n63sQxOG+xBVhkzE762YE42y+7zOVUnIPSw6+n78Y8eLxNR1giWTdgP3LEu0afIjqbteTJbJ330ajdzY97r07lLsx28817XvD5a+tVBW2LfXm0FpFedttQdpGmq7DwSzj42LFVBoCIuTQGYGriIrYdTHRmPQUkK/fbNWCn2dubvWvRhyxgG703IGHuOFEvZHjzHtynyVaLkhIUqTm+B4xwalcGU0uWhGW0dWiFlYpRqILc/eOcJzMybMOx9WxoHb7TTjOQqn8VuayRQv75H/1m+Zo8eFHLLkBRMMI1COA/fB8o4jJBYbhvGDkOgfKToHOgLpt+yesbzgSWqS/oCtXagGy2CMGMQ/fUhe1xHF/MYYn45afxpxZ/kONVTXfaUiGntJuMaxwPRLdIr38gaLTCIBw/Na5UyFPF0gg/oMolRF+mKGqBHW5+0o6ZCWmRTVOjAMOplHPI1bZLZaakYaEMWg5OVR9JkYTad0a6DXTI2CZjb5W1T7WnpzUjVzXDjmyoWnpemgHAZdJjBPu2n399IEoa9KF3bLyLXxLekLBEQ4aYG5JKL9r1IWs9d/6CUhKZdkbuWGZ38Jm1FianLBIVbxEv8w0MLYaE1O5u5fto13f4ZCgvSWiWTU8377N6c8Ncb35q5YiD0h6Rj2ddmrj2Rqs5jtCQDs3/62UZYk44HVOUtG0pFAlSvr59vBvyP50AknQtugwjZC/LuofEMFnpghtOkopgVo7P6QpJ/a7d3f80INZjStDTdt+ZMRjyRTUzY23230M70dzevU2weUUaCnovozDhc1xfJQfNtwOhjr/U03EGyGdnKNtQggrEKyS9VYtfNkd4zTaclyJw3t2JLw4dnJz/pk7VX1BXd0EweLZlxHxtTkfg9oQUawUb/7g6kqZmTpMcAG6cJkfUb9viJG2tNqkvjk/EfCpZFgJqH2QW1CwXn1bYhqWuWBDxcGCLtulhp9JzqMt+4b9qDv+uzOtGTn1mBJijZDsK8sacyOCYtvUh1WgVyMr4Fd8+d3/r5wv+4NIC0ysptTUef/g1JVjjbS3+vFJn7bKmCHHYJudbXOyBgQdCrnhtdmXmKW4Qi4tzEBIiVPQvBbSHonxpxlmkoogPLJ6U537NLGl11P9JIvSElIG5FZxIUYr5rLxxhjOPdlnfIdSEKkAMMo1qRgHVaWXm//dpXeK0ztpeOb8Hc9g5M5TSLmU7q+Gkl2fwgqRmFj72gmcX9dVQJgOzGM5OYoHlQq0PcWLUShOFhuapBzdQlZPECJAdgUGSa0avljy0B8kscuVPphRV5hcljrIUcBj8NRl/AGN4d9eYC0EmpM9oz4v5/GOISkUXnjMhW17+L9nqbvgYtSWA+CcwMcDMOV/3WGuPXCNgwyvHCQYTjGt5Hzzn3tO1KF+8k6vRa094puv3k0zomklRRDGZ/Nu5DCUOSJlnM1SjBFXJkqd2DKhrxt8+WHnvltJ+PQjSamRKTH+BavNVc1KiSQu929QnIa6SEFvZy40Cau2C4AHdX1yEtsCsWV8CHNiCMv0fuqkooyR4cCBeKuFYk781MCuzRDfI5/CCrfgaHwFDWdhXs/b00JyagKhYJ9pGqc4HCQDWi4WuObhnCk27cekExYy0vWfR3GIsFeGaefO96Z9dL7lrj3v5vEa1I3+uMeOg887K1eSubjQkHVnSGSlbMcbFsa9hZdCD5+vvfOWe0zswry33YTM1mJEBFEPkUhX71Pc04kpLSxseLZJiP49YPMBDsuQKMygsPI3L+bSVXB2HJsHiuN0Joa0LqwgRuLiQ+ZkD7Bw65hTS4+gbobgHXWNz0UoE+CSmXEhyX8a+ZWsPt/llFT/GoDdkWV1RwleO9X6YuTCHXUVXWiOpiIcCLN0H6MBRM5N2PuODA57x16woZSm6KZlo16nJyEfuCDikaToEqngOoyu13HpHidKi4he682FczmqkdeoT8iVbRpMcEm02+3SNmud7nHb2d0xoXd6fSuIcdGXnC8CoT5QEsWwSwkjJjbIAnKlQyzycXGGV0Fs0uqbQCaE/wn8NmIyYJ+zKT2ZLBT6uy07FpDFYrCoV6JblHDvEphTZBef+V0EB4JMiBsTK2brYaKoVSfumUl9HrYNsAbouSagkeAS+stu29Qb8R0pKIt8slPechiEzhufkoUDQr4UUedN5lrXmaJ2dkqZnK9WXqwnED99lIelDhHLnJFsc18DXJD3Faww4y5GVF+QqkvXg29pD1gR18ENOnLLLdo+5bU9BzxhJ3OjuDDmGiMAFdFjwvF41h/QhcXs/8Trv+X1ICALjkMQAOK1m0WEk0XrYmP6phOX6m3YJfx6SeFNxAy+HeTOdAn3QNNZCSq80l7qLGG+abqT2Ywfu8iZM1ah31sHJDcI+p3jBHMGrX9Ynp8SebuhQ5SK0fDQkQDja57GzBwNzK3A50qIVLuOUaN2v8da9yZRLYGQHk1MxePJV6ZjASgjYWqYCApcaPepDz44dgqH5A6zI6S/qRDhzWnJMw+hedJa1PitAC/lXHdGCofy6lFqFiSEXc580SoziwjEjGccZ485dGffdShJmgrwbGaJAlNM89h7A1X5ZKzht/kdnejTDVyja7OonlzP7F9uOkB7IuuTijruug77J9R55CiMqUCU0A+T5s4yRvs4HdUHY88Mrw6uv+05PGZ+mqV6d1uvU/Pe7UXVWNAErPMdv1NDllLwldCZUYDibCrroVPlF5KH6lt7KgKYJAkpBWFNPF77Kg4COqLi9yi3zJb+dSrURT0YQstDJvMQ0oYz3tHKyKIdoieanMPgjmGObSwm24ZvzemRj6rBLLwfUdMbh1/0hkCLDRzC1GrnoWlzBAgslbTQDAqOZC1cFCIvgwv30Ge2eNwcN8g3sKjeGD21GZIFVxLR+/x5z9CuPzHstSFT9NDhDXanzWdzj39pF3aGVJ2zyG2jSduYFayb1lqbI+MtN9m5yYCO85ocfXjcOv2pNQzU9U+gCOqg3OROaZpSWkQGHEUhpq37encOjnRjMZ6VWywlibxMtyCBjEyVWHAdFwpC8RcDohlTHxQA3AjUZUJfuSVjhfLM9j56CYkRNVPTLGHWuGpKOziQnaFcUJiO/1cfShfQH4tfCgHC7J5TXapYiIbIr3jaEYFdcITbl73AZ7/8/XWTIndWx1TPujGUXryh3rXOjJJ0ItXyzYsqSNoQ7hhv6CWKQVvokxECY+UkRzVYlY91hlDgW/ziUNS0FR4SANr6VfQNWrz//AO4hq1Db5n/WdaGC7qIR4icTP4Hg21ou1DEtV7e+IiloaNoKtA5fcAfUU52wi9/mwgwoBcFcJgbojBfWoun044hbV3iB9qQQvuL+zVV6tvvI5pIr1XQA/L8QOZsaA2mLZF54NY4nIJVxTG3fgFXG+v6G5in347ALhc+B8bpuL0aXmz2AquDsKZx5TkrCJAU4gvATFHDisJMOWQHOG0q4DOFvtyUFIPof9mdqXz8ZgJp4LHS0LDLovb0P3a9kHBUVCR4gAObYisp8aFr3KNcZmKVkHqvb7TbHvJ7mmoFHVG2moZ+bJNE5ASBOCQlrlTRkZ+RJS+m3SILIjCydrIATwwHIC+Yu6gzAFTC0en0DAxRj8cAohkAPMLaloKCZG/aU0LIkBlrvBEGRNTk/fUQvPWIK7pajkrt5jqueIRfsm10Ck3u1uqxMhnETOv88sdbAnP8d+BO5XXnp5l4o1HJUZnTpGv7oje4BLDGPl2vTd2jxxJdgWBNLl6rEngzVCHzXn81RUNVIaMkw7CPyFnk4eyGPmov8Zfcp2ZfEb0i2vIKZmOxRXjOlRGkVU94RkRAN+JKKI1S+2vfZrwWpuYcjPy5Ok+c4DDXiusBkdk5/M0SzFPgD/nh7tBTBFa3u2V6K32R3a6/5gRzJr4Wa8q3kLPc510RYOLz41mFkcj0XGVT332p94cVl47fiAmpiZ3J0sMcIeBCtzaNDq/hwLmXYbz4qyApiruD/+7NCZxeKQyIrRk50p2YHW4mKxiU+KyoJD5c2cf8/EhDNXSW8P6Z/85dxUN7nMilNSI/icYsLCtpq/UeYYRGsu1N7ewkzlzlRWqtARy+qh1FTnnkLQLKAqYaF3aZPBUiEgM+lAjOL69u3g9LeHy1MrcGKiuneV7Sq7mX4WNEUWgw9yA9IIOm0dovHoU7K0yT/g4UNC5u/IO1MmolwBaeg5/9zHZQwi1LrlGGvs2ZywG2JttFVjMQVGmQ8W1mQax1rk9Lq1ghQ8Xndb6szW0rY8T7bj3OUrE4v5ZhEnCRnY0dKgAbNz3NxW8ZIcfWCK2xxR2iWc9JvcCSJ5JfnX23FX8PP5WooUzE6Zq+oJHiptFSrCiZooCITrJdZfsB/t8B64WLb12bHRHmc5RZDHQ7FzoQFqLoix0d25NEDGqiZFIA+5k/J3ABIxg4vPQQsuTxhqIPkGNOZutxJxxrmh2NNbjtWOX82g/BDGyEhmZm9bn+EwwNKM1OvcvlGM8p4vWKdBcsz2LT4D9JHugeedClFX/CXMq2YmK7/rx63YhlQ+2TMrkm9rROmhtn7R6AvZqM4jrF7oX992HJLBK/mvqYzGpfFii9Ygnkvu/4Ef5oO4I0TFoe4rmiZmMZcVia9uqL7Hft4LWwtevOJLr2zbkCiUR9l2LAJGR07LAtrD2oyGZmdBRq5DHLrWNmUDm6WY7G9Rw0OBHM+svROC+UoV5f1J0igGQKUlFL97MAKsM7Rll/7wl6+Y7mrsehS7CKVoggBpkRPci9drvGsRSBlYfJupayIPjtqNsHIGCUjyY4qJ8rbf6IaIdsuukvh5z+i1AIi2BEW2qtITmdRhNfZRuftgYbh35MoRcKubbpfuxRb/D8SXf9D0N3/nNklyfCELqPONNbDwcElVvObBIE8rxNGxvCqkLCnJBaxUyWfizbP/ccnEUAwqCMt0Fz1i6Rxi6zIfJCXovarH3/IJVbuw0oK0e3VSQmm0dFBwogKgr2eJRgUYJNdMsvhjzi26Fws2a0d4IjM6QLq0qf+R+6B9Mt+TV9zfQFE/KsaaBHkj1BU5EeKNf1qQ3BE/QiN9lriRQEB7d6Uy+2XrVufyezGKInbukKZi+oNmxTR0Tzq8PkgMGFtvon9Gvx+tGhQmf5cGk8uL6UHKGl3PiIqv+fqMYmq+t5Lf32R+7fHEXRfNxvrtoJfz6FzSQ64TlbvzzGGmaNTeWzCIiEBdRqztF6Cq/tQJAlULjM+KZ3HQpnFUzOSUBNKHG6uEImSP4QjrG5QIloEu7fwuVrORbUC8LE8PjYH1co1v1pfrcq/zGmeqzmt5YVmaKpoQg4yHJhvI/H9wtcxosuBoo/rx7An1PuE/y/qxY0qm4WD9iL3x0uZpQnL5Swv7FD7u0aDMZiCLrPo0Ze39/WPoR4XQBm1EcCkO5441fHYG11fE3krUXYiwR/CdB/1NQz+kA45jfDri1qPp1n4w/Us0zDqS3Z/UQujovvCUC0hAMlue2jj59LVF4fRnnLsFmY9iXIoxZrDa82EsU33RT6zIMYo9PLVRKuHGCfiKYsrmTWIuytVyMxuiyk5jrA/pfq5iM+iHT4eLESWG4/q98BNK+EArpre/D+Dvp5EOIAV6BLGdBwjiNfJTyQr+dxLiHHrammEx9wS0/rLOem0K6zrLe5ZAL60O36kx7sERxKYc9ztLRXTLQchTnfFUBk6dirMECzctcGAKN6I2EPfUc+DThz+5UBlA9enWiO2ntoPup8eh3dR9QQB41VfkW8WaMTkkjri5Vk4LNQL0Ddfa1Tp/KTB8l/F5xrkjiXmgM29K4ENuoNYH9RXuctPd8YmiXbR4HBGyP+oj9LjYMZ0JPqLpdYScKvQw9I4kHdYlkeEOlEo03twCIUiJXiTC6ThuYJkazFrsewAI71fCIt6q7TXDdWxLnHRGy/ArYAJ2QFHr/EUQ4ma6oZLAGQK3ywzQPC8owKugA7NkK2/4tHpdjDUuLYRAWXOz6UooJk2Osl2/MWHWl+VI6akxAHA37fi7Gk1QpfaiPmmqETGRnc7g76BvZ2Ej9sZd+ToNp2216Db7A+gOujxl2EBIqh0O1o6lSXdhX2w5Wtc9TsPBXUHLYxaozEuw5vFXwuHF9OzbiENvfSVLqXdPJzBge+OWlTJK8OmE7/j11ih1fuV1xIoDvdXfDyOVPuhBSAMORIvGcUX6oNcNuyJHVOXi/QISAqQSpYwr7UZaXM4YqiXA1lpQLqJ85/mV/aSdHMehJ+pzDjvw9ImichcyEOWjSI9h4mZYywvVgS6y54q9g68zs4nroS1RY90IMJQyL+kDYoGn7EPnJBhyQptq8vcganN60ML8lt6mA1rCc4RCTXrAnbjWfyTAtItGNuFu/KR05wfJ6Hg7voFc5LkH11cgBurIKjlsA9W+z5pzO88TpxUMKaE8yOtqC4EdEtExRItosQs5QEV58rna/awPt2MpcGQMHkanfhFWyQegoiNdlRDoFZeQSp6l4pA/ZruzMo6DH5hjigajXb0btzuvGWYWBEeqqT6d8glC8sC6YF96Nr9W58ETC+5cSgz/Wi1t2JHJshGruxukNkHRFG//A2PdAo3nkOquSSK1Yq2v3MQHeAq+dQ7DZ6oS1FxUOQ07vDPMDQyV+fkHHjtt3Jx7zEVTi4OvRGbbn0FnGylNddIfUAGLlcO9B7QKmLzBoJPbhOjhSk8zzD+8TQxAGsTqFGX1AOyUz+ScqscNeVwpOdsU7tQYE+EXw5XjA93Mq48YZjnkZdH0TyfuOkPNl3gvkrwgoTGMjhxEsIiz3kp/kLS5dowm8qP/eSiGQStZs/D/V0WLYql74DXvD/hKlKEG4mVaGI4JUOme4CPsJiD16EayQLq+PsUxEQ494vksJMs7gbPuBh7fNiZdZ1cwLII4de84AX6wHYK/MpoUhmHisOxsfMjpihOElRxs0UyUGRdGfJXR3rRO+r2i4vBXx6JgA6kJ5T+o6VnWRCp6W+9zYFZLgpdU0CRnORvGRGPKGveLmQjCBIrquTZneKxPcY+GE1WVk6fMrfSffcfERVOnzyGaNtihbRqhko1JiC4TNhiwyhxrsMTfz52IggRpUSGHAyj/EVg4dpdSMK+gTTK1ttFk0Ob5FVhr9ubAKQrCgyLDanM9nWDOcq+EgQ5nARTDU833WemAfD+EGDvw1HlunGTXTsfuiQYUJzgMgf6sgUTpTcoVqFUJn1fdKrVlTWJVxHFQ35eXVRDKNXFX4Gyqf0rkQGEHdBNsqG/MFdGh1kJh8yGfX3vOijbU5EahYuzYCkSZZ+3Ptsyn5+jCRc0l+rEWOiCJ9vxAbxTcj5AiiJ5rJpD7WG7yaYrR1Ydl2YJGnTCakAhvig34DPY3Z1+FD+e5p8AdOPDc9LihWM/TyW70rYZLQJcI6YKxdmQtHPAI7QELlQFaWwZLEsFiw6seYS6KllIr817GdUAnUQu5s8ntAxQpx5M4QzfNeBbiIy794L1YUEBc7j1NvizVkRvUC/P7PIqPe4G41SM3Vc6VK+CDeLyPJCDQRF2U7+/PMtw+OqQtawJp38yPANl5wX/cwMJhTUlB1sEuU5EHxtS3RZvM4pkSi64h1/2KZGWGTdechqw9eyPcc3DpL7K40muGhVbdLVBf6D/sydzKzh7tO2+qukIUmYQ1EBb9j32P6WxWUJxTVsqFY3Iw5puqLhtYkN8rhcyjLBv1teIdA6913nbFj8PfO6wfMGRiQHsuJW119updhHYdWuQ3DZ7U4awbeddzWri47BaF0l8JnHuzbcEAhq9/qOsaRQsiwu9uh2Rzm6+kMSht0sS8WxuWE6+t26o7xMsViR8Yfv0u825R+kX7WiDQBEmgRTVme6WxgasfKLPTvZy+i7NIGPTwyZn+k9ROgUC9kDm+PhlirXFxYjrBTARecaLKQn39wTx66ceHlY29LVMuebHE64diFpg+91DsBdgdXEQmHefMf27FbxpI6MkNNhBINXtQDV0o4JvqzJjgL1decvPdkjGd8MquiA8FSy9674fWev++N9rwKquHrBmhEgD0Uc+FCwsTGMuGRD/OQUWZyR2nOWHeiv806ufHbvxvBgx8Dao4OEfCA7IDkXgvkfh32D/gargcYfnMXaLOvdk3iRAVAq2c2VFWxHIurUn6cIgKb/nB32aglYUKOMcdkz9S8l3cWmdIhxHcgYIHTHf2Ek0nmzxrjz4jng/53LU76pEJiHfyAhU6BB2ZtDIuueADV+XmI6pI0j+aGV+Xwi7zYMl/DcmlmzW8w0011nEAbBecng9JcwUNwSwW24ZeCanhLeEp4gQBXWu6ruvrpA+TZ9Y+1AThrhcxkmxNswvQeetWHnXn4vWD8JloCW3d4dpE90F5Ydv4wmI4D7XVAjAwsBhxrYkiubvs5hVNNIDOUJkjsSIPqcgQuC9c6YwgwudPo9QK2sM893/gEwMSCcQ0Bi7XY75sMmD4B0FpWi9bschScOFVfgV/hfjVEnCwDx40/CzIKA5MLQtQ5ZS3cmfsfcKa8GhOdMJ45wokNc7+eBVb8rJDVvvpfTN0dgfhSlrvQaD3d+2kAvv3UrqSI1eR3LPVwu70P0CvW+leuSe9Hz1eql5YoUB3eyvEwtXtM7eB/Rlw250kVCUeHGETLcce9h+/gV8YfqiLthjoXqcxg2X7bcO5b2KujAk0C+rWko4nixd+jnmsN03w+TaTklxsfy6DlSK6e6iC1ChCb9xFQoxK4klSca/s0caqjNstdSk3ZxPN2GXl6cIm0awKGftPY2naPh3BDOpsfEiUHPTkn7GnIW2KPMqEb/8uSnWYUW4YvExx8XJKlINJNuLdtlGXt07k3HhtydZhLBUEt3Fq6rOoThk6O3GFmReHOGQ1O/lqTYNVAgxsiv6SlIhcofEQkE3Vqv3Hq0XCtSVmLB5NMaOCBsIBNjkZY9h3uT7zFCQU+zNi/yLVZbFXW4ORxJ8M9N3Q6yQ5/4aA2APuiHxc+uwr0SXJFUd84eTlhJX5gTj/ZGjo9skU7kvZ6UTrlftE0D7OkK2Aq+/YWavIpYPfRkcMRsZ7tisWeros4aekO9jiuJVJl4JH6MNKBAgOMYlkf/zhWHSiHnTMtvxv+VlI3duahWX257Vjf0Rp28mghvEFhgNFx3fNGMSUMEp6l0cnApQDYKW1ZVSantFJdxE/80w3H/vVwZYLvdhCzu7TWIGF9zqMbbsjEvxW9/bl+A2XIvZJMYM6NJQ5e1SX+XNjwBIN9CtTg/9WAlw08IIezPoJF5nk/7dMNqQ+sssbX0eXKuVHeXAjYo/eYPaltZzt10O23Gu7/2AQejH5pLdxf+51wmhn74s1KKvlDs8lGSFGxYfdYkr6PjDbOVVfSZHbanJ2x/oYUwKcantotJ18CakQUVd480aBa8tav/PpST+vhzjR0BHXhse+VXfvrgpK/XJijIJcS5sW4mAMjwhmot8ifXu0Z5LhnQKfuLtVt72wYcPGQReFIsxhN71xhaB/rAD+kqcmKbD0d/QRyJq+1/EBUwx8+eU4z8L15ct2rtlcknBsQ3YSczmbrcX/b6tx2EGrobWTUigyGJNaJSh421Mb1SYAwI4KtCQEle/LI0/w3uasAc0SP00mapQL4NARo6uNpXk6OgSvf9a8vktZbxd76tQ2dSzHx2HYZX+6jyiTQOl+zhnMhfNLI+RyW2dvcJ0ETHvYEAGSyd4Ql4s3xBetoDpieqO+760mzUIKy7r+b/HPaat2bZo30f7gympn/c2UiKq0fRywP3oxVuWQXKdId7LlJs0xTR0FZQlYcj9O7M4MbC24TT3Li/uKFIwSLTQNWSVdP2V2JidZFj2T6vIBTHH3VmSTELus/LWpwVSImzEO8pOcxwQeOMG7/DRmdeK5oDTlRCaTHIZTaaaJNo1OH9FrnyLEr2tlo3fiP0teDLgSSJm/wGCKzzmByx1qkpg2BhvU0PWsVPWZDWkH9QgvkgG8Lr1ph27LVxEIBEu183S7YX2MHFrzWHGnF4j/ZHgTk9u6HMZsJG6pQ/BnjK8P1P3PWONxZCuc2Vze6+XOOWNAd8Ts5dZtSX37EeLt/4NYro3Blologc4OYN1o/o1JACFiABH8S80IwhP4LCTXmlA9Ur/hvw+yfFOvYnWCC1+tlp0HrRA/7Ozv3rAQPEiLANM4Zf0aHX0QUBXe60ZJ/vzDTGbRvRlMfM8XQfyz4r3ZZLwErxdFm/BKZ90kFhrIyV+ufZMfCzLgW8Km2gHLkCaxfdyjDdRqYd4fPckq7cQvrUxF4rXs8e386AXQBUOGsnMa5D/CAa3BMmRQDbFqRJD+9kYKghkLzqN4M3H/KMukf6y9brzZ2SHeN+zKUwtqnkyvOzwbOn8772qcHtANYuYqRVz0cHs7G3CCGaMKd3OHz4WagcijAoJYe02+vjjAqAHOShDIW+H33zp267icWnF7xsqk7ubrjcyw02wvnVNP0fjprfD3+CubwMAuOiZFFCT5aaNoXL8i56IksBhfaoAMY8Y85+nHYE75qIMFj9ovbz+F1c9EhISRj6ha8uXqy9bBic3ThlGkYRZgRSHSb3jWxo9/5uPfB7Xe63mw9tPDG+l0Wx0vbtEMpTFo8KJ+rpn1Bv501EHV/u/sCOuyZS6JL5mATvf3u6k8tn/6Y9zhlShy7+Nwdn+qh2CL+SHPGTjClk4CbjepgptYtDKdPWC0lFyO2q4tX0Slgd1qZO0L777c05xgY/D/IYaG9FX1NeEwjbAZuRltcSXMc8rX95gJYLYkJZT4V4mNGmNrPmaFbqkkUmqJ5vYJUaoZywMuuyIbgS3iBPjSxuDkdSCPLcoDms90U0/Ytnlb8aNQKpUQIiw+AcrJ+P9jKFc6wvDGnB9aPVMkOHTJDWhoaqSXerVFfv22ldYsJYTjUtkZ2BNqrW4TqhPZHYleJNtZyLwTKA9F7V0gpgwhBEz41ZV8T+eYs958KrBi9YNCmDykGvaAoPvt4T2qsNcwoWToALYIvWmEZ1L97wiuRoM1jF4vp/yVO4mXerYdy+iyU620MH2RUm5uZCXOoYpx3g2NY/hqdHnjmLApVA5luzqtlrL59BcWKdoimU1Lyj/+GRuHIMBw+itzbGk7YcUMLjDFRCIlXoIEjeps3LRUlARL4NEnCEzct5Mu3XHp6xM3ZRGvT/lfQ7e/ID5bdGl9mlcAXb/bAMVqXeWZPjfUlA9VKbyAd6Pc1lg48+pgVydTfPkwWFmkxm+ixAcIShYM0kut+yZ0YZBiIRKQpwepFzFpy0pSKjqpg7MzgTnKRBFlFu/zhxrzDZEmpTG2hNtrH0yclg0quoeT6raE1Sssutp3kFC0Ys8CwV9xxv1VeAxnrZb72j409GRhV/RqjDPnTXBaeq/cxYsLj3qN09jje9RKCagqVL5uB5ubRmfxJov9PyeFTRXZ9pU7ldN0l00DpuX8XSM9TUXSMczOX3SjisRzQ9eJ31zSkj1YxcriNqJC2oMm5L2T14uQvH40SDJXwxBGgPCfwI0VBuWA5f2xXsfP89wkMS+tqMdFs3gxr6m/CEnLiRMWfmaAaiQi6Y+os1KEKFPbZYqWgTZmJuMXYlAOkxNWNPA1MewTCjRdBqxXnr/HWNkbIPEZN1QeFf97hXdqmezEDXYSBoBPTYURvmcPeFPTnnkXP6/u+T2pIc7smfxIvioNymxeFXFeRt5x9QdQEVDEPxsgS5IC+uhrc/m2nyq6Sfq6orecoWe0Yt8qjwPojSCLY8qFmAUysEocy/m2IYSRQwUXyNPN9+Vl6rQth7SdbdxPVO/Aj3F9LpWF7IuiSrR8rv0QICdWSD0b7uHTGs/XAt1IoQhEh+B+XWF5mbJJl9fq50hXibUgJ97XvFRQVoBUA6ENBERbaDOs8vMb4NM8T8N+R7ANxiQpuvT+6ckIUTWST7yLA8iyRhzYkl1k3yjl89a0qV2d3NylSSt+4myRCIbwtqxigP/WB6vGbSEhgxj4JmYjU8+VmAL0wY583hWXfWnUZ6gikKxDdR7wVAK0VwozX4OPPF34RyR9VrQX8EMDuOuF1wQTPJ40qshZlI69dx9snsbkk+9NlPLg3CGnJf2Qi8xue+XdjAs4V3yaYAkYeC3XARsYp7nH6ZP4JBYjgnvZR6seMuDqCpAf+ycZlBlkz2laxS42b7heul/PgI1h78mgFD4o2jZMv/mCmaEgp4GAtlOomXdgGxuKVFs1RwwL9SPDGL80tWtcVtUNlzjT44SEjwoYIp9qF36gMsLhoHmBvMgJ+jslx07UC5mbwoZgGAOY0yFAK2Hi1C82jguvR3e4BWT2bZgMY5iEfSLEBFI5zkVWEPUGS++0lQ0ImelLaSF2GECoGRf2T/a8yy0L9THxWjYakux9R6hDZ7GKFV0D6JzyT0PBC7xEoWs292gYVOu3C9Ah0Az8KI615wL9HIH/Tx1YkTN1M/Q3JzIiF8gGQmvF+pSv0Bqi8kXup6J5Zm5erELgElAQb7U6dFJ0eqXyKJ35bSRjl+N5CiK3U+Z8j+mnPOSSu46H1Ae53g3vOfQKkJZkNV+gZwvBF7+p44Awt6eAfvyPvSYZp3MZju5RScvLL1yg/DukPYR8lvvnucb7qi0z7200PUF1n/QaQKSEqMT+15+36Y6UqmYtQ1P8ta6205nKO9QIfouSKryQv72VlkaJgx4Jrd5fYNVaLe40eK4te/uriRlAE5HMtGJsXAqmxDaN9X0qqEmy0oLQpua9R/2rDjV3ioF5UaZa49AejVCi5oRkq475DNuI1jxZ1GTlgX2mpfb9nHny1gC4fkodNLhBmliDAoRIjFg9eOH5qdVThz3aC8CdYpiVXs7E62Im4l7dlVhHcZR0xKVJCKTXkZIIgbZxOarhj35qGdSvv9mzfuuYd5SNMv7NunJ+wAZWm76uujF1uiFRFSHf+KN/TLRzqvMBPFJrZp3xCLydIa1tiRaonuQ2ECONNgaCDtlZmRHAFm3PX2yhyqfjEiWwNMu0bi8N+ztAemBTURJQ0RfkvLjhVMjJjd13TvUVBO7lspV8i8DNeJ5GZFbKKwhJAdJy1NpMqKU1aliuhbAeDCTMm+ntRGxM/owpznHNLNXc2Ua3g48utn2B59UYp7VEevc8Y5RWMOYGclUt+wvKo01zwFGKi7aylrq1lnCcEGMT/uGmNVX6SCzumuT9TK7W5YlxApUe22qPYN4rglA/NS9mKvFqSZFL2CMz1wxzqH3kPb1HsUADrZzubbKcHXD3Pio1+lSujFp4YCWUjRd/rhY6CbqPwE9twWrFO2kkutyoGAp27gmiTwcT6ZAmqUx8J7axMdoTHvKIiWjZD9q21Wjw2OTRtOI2F5I95K5sl4UUIUKFw9FsuJra0qrW0ynBMfiOyBG76pWIVfc5ocLkJ3clAxuvdzkxnLQKHFqh6aqUZHYi8nDIazii9NVgKAu/Zg/w+aOYtdtYwCUrGhD6ilFJe2L5AI4ZmGKf875q8Fzo6JT09FyE7XcSZrMpHFL94aPJjizGdZMATyMENut8lZaMmwmNKLgTK6Da2JnDGFDM6/9JoMP0Ot7Rlaheybi+FEUlbFCULQup9DHvu0xF65qsYC7ORGdfwhja7zzPiUumVujSbPiLG58kLyQM5kEELJk2kuZ2J1zxH94UnXTSSo1m+uzporjeTscAwul2wWTF0FXLu6z/5LwlZTCxPrrSFOs4xCjhcFogwGrL1ZK3IMNyq1Abeth+Zyry+nIFc2DL5m3hA5j83i63eR+vCQFvFY5/U8S5dHF3J8TOJFYYJ3wLi5KC8iNG58qIP4YdSomMUmA95NKk/BbqiQ5mVHiiW9Wj66dVAgT5QPYWyN7uAsIQU1EdGTbZ2ZG59MwPSOPL0AZlXH7ArHx2wfeQxTeubBU+ULT6xTiWGBt95eaRr9aVWW0ic6+qFId/Dc+DDA2sdGa+ppok7rbvVN9CTJcCL7HzmLNdBq4uclDBEZk1oOJJDKHsVN85jDn0bSm/jEhbBOsHrerjSuFzy81fhwEdNUQFBLL/4b4C+nxXpUwfqx+VQ4VMNaiK8JA0s+yTYOyveDJ9a5tC+Q0K4NS+8Mdur2xnGQy8JaP/XiXcAxOTReh1WqumF9/m6EfXXzn3d/CZMzWT0R4E/kwlVlp5bQp6qzzZg9ug4vHegKSP0cTRCLeLFUF4nIEJPNx6aY6H2LjS1Us2JZyty4BjQtFrHJnpSIENSMQenK58BYDP7nbfAHNbbCG0pzASdn/ob8hHtH9N7AHCwPJDsb2/9bsetFt1bTbrm/wGMyubzeVwELN9k8MeDWtrLQUUNfPCIEeayqv3C2oHDRYGsm95WXAfu0kUU6FJV4SrdfN+ytXa9sWKDwJylM0DmHBduYtX3jVu0SD9jDfjpfS8T48kEdK+L5XWeJ4gr8xPq6Fh5dcLRZmtbnSUStbhW0TcZAHcAUVsC9JPrXPBuvw5Tdr5vRpqQrhzFjWv5KqmiM2R2GeMJPXHO+Lqhw9TXwUbHNZ3nptVouul5oxRhXrqdQcvwMQyzlWFRYiv5wgaJ04UfUGrfz9N0YD1yr1A/pLmczKP5R/ebdiaYtw2N9eV005jkITvxB/OkSWgnIfw3IHhMTJqiJMmPDg3+xpzwdPiCl2TZqw0fGOuwH23hCpTPfc1ap/xtVuCIeTbPEf9T2g2E+9PNTfpn7zg+Z9pVCFB6zzLb2ZMBV3J04bkYIFls3lM5tGcNj22Eop0NjtvgQo3P2UjZlTYqCGpS6p4X1MP4pMPp8F0FZcfMOOmUAZHBWf/0xHZsLl9HDv0cQzwJdzdR8N5D0XSyyEjg27/Z1a0teGOgm0Y3vW6h6bM9n4D5FqHqppSvNVR2vWGtj2VEo8yI0jiwxsKFOIFXVTs0xqfqjHgBi42bPUeV97tcnqJLqX9ItPMIJh+kBtzYpeFkekKYt+cp7zG28prFXh2qxbae546SS0Ee8lejTGcZsX6O92Bd9vup/eYOFE8YLnNbsSZiN6qaiDFhN53pPHLcK9vmNeGeGeWKVtqR9XGoaPMTQ0o+Hpbt8la0rsqP8hcwcV2MKDIx7ttPCsnm6ZPupg+AkIJRuDDT1qrR3lusr0/t19eAbhY8WwFzawV6gmKktvBaLXeih+T4ICHKFXuMDOChIcJphxsDPa7J2vzyFRgBzvl4jdPZXbIjPoxuJnn0blOPC+ZbsRnGektVpT+Zi4S5Yf06KCEQ57zxozJ4onZgrES1rKNXXVGZjL4robID0qke/kfjz6tNL6iE96+VSK4/GIHLfXtdP1e21MJS8NFeMc+j0ZqB7GlOXFhtPSUD2lz3TaxSm8XWezdK80nengCI5LKLOI8h8VbBIl+6+3+dU3tHhi53md3slHuJKM2VwJhNsU1o5FT2LE3x9e1xsnulUkwjMaank67wKe6XfcXvHLFxfgGwr8QzK1oiNjtD25cl+Mi+imcC88KvS0LNzAcy2jigV4tuwQJyWJBZ6aDtZL+WkPU0KCNpvp+oE+b5gN7BX80ZkPl6LQmg94w5JnwMx22XwMgG2z+vvovkyGmKPS89l3qyyW+BmIz7ASD4aDmdBXMPFAM2o2Bo09SZVg7z0TUus8TePQHJj7vPjK8x5zw6wkRazhJwTSjh4bn5mUWVHTZVxlNIlpmuVmVAGWO9wkkdEEVJUSQPiOmDFoU8MLuKPxLKZvRVsqy3ZglVzft0mAhjCw6BDYD4YQJhzpeSAB1bok3PLGGwFTHAEEtjeiij0VyvQsh/vyrk+qby1Jq8HLm2fw9Gxwd+f6IVenoiSU2NWmnnto7OnJRJfCTqY5xkWOFZJ0nVO7Nd9ZM8gbUlws/6vMI9WTAMX0s6bOWnZtRkge+2cp42Fxxz0oiwfpkVyU/iJy88KbGtnn8V+JFs1lR0FWvsn87AtG3+mKTuQzC9cYC60tKD8HoaN8ppqpAnAV9oDMFK8bAvcc6Ia8ogb6zWouu8qW1zF67Lq39eIVhubX+LstmnkE0YC3O9z43vfi+GKyGB8dBA4wGKdn8kpqYWMUBNaiy1uicDspNvzXvxRbCqPnOtGZQ11gwAfUWEMim1QF6Aa3a2l03w04MNvxDNkRzeRkSDK6UtNpnDEYgjiyVpRfLPzgBwrs95TPFANvKv3+p/8LPvpMK/iODN1N8jvbk2qCiVJNJd1wE7pXGcZeXkiEX+P++LXreaiVkpqcBfv5uqKo7q7XnLzfh7tRwMHPaddP8aF0Qix2bdXdvMIjuE8Owne/E0jwHft3d8b3GyShkRt1egDEH1GzB/7PIYNPLGPrXzDoFJByiyUrpmbqbax/CgEW5qeW0tQQjP1EURhlJGqKPCGxGw5YfxwPE40G+kTVd5Qy3surGYmB22on1qEBT9HQ9yMbXLefVgYLrp/vyW1/Lh7XaJ8I6LHvwFqx8DoiExDG1cbUwyVa7IyjrAWrxzsIH3ML/cK4gMlvGfZ99heEaNlEHvs8oJfEGwvYcEBvEn1cWlkQAWweoRxS6mjT49aWvMCqw2dODUeOWce/m7u7zT8uMPKaOaBCc/FN3C2BBtPG/zqNW5Ld3tA3de9yfV9rWawwz31WVL2gkkPAMVAdM5e9YZfE/A/Lqcp+PUQNeBaH/7K5YAd9v8UIr8w2Emv1E3fH27gXYYoxC4FpZkwTRY8gSxSjpotRbCcY7SOz7Xrsy3HWqrg/h2PbbBxPsZmWFigGi8/IWphs9fBtraxK5Nk+mscetQoDi0ydj3bocrFnfcH5q5u9njSOrNXN5cW763b6+gTkbWBc27X7WIwc8xCGrMqPwIn8QYfslAGPFsBtyeT/BVAKWj2rDu5I38DCkDs7+v5Nnx7ljl8QTR4CR/796kbrT5MMZGx6WizwKjvmZ63KtN+V8Q+gcpI6Nzg80TeX7y7KBFf74+VoFaxrobnUzgd4hL/CgI0J6lGkAIimwtotmBqnCMPspujBimFVksV//ekcLWCDMsCE4oVGv+Gcel0GRJBnR+Qk3NOpIei/pp+/oQv/QRCKDatAz8hpdS9zcEznaip+5HkkPe8lpA/Us6wyb3ZL26w6rzO85k1G0LeUukgYh0nBhacNnm8fOOGBJtBczxSE/+G00ZlMehVMTvSVF7pjyi9v2Ostgv4YW90ds1UAKLJ84SW2lBQNHRv+iNEjXR7GmGxHjfz17s6YUWEeW9pkw2HsHTPK26KIe64Ssl/SEmr+ojpluSJ9FNbQjLjOmicecXKH7ndX9vrgWK/DAleQzYH9Ql70arFz3bXTEuzIXSQ94t4xu+MmUtnHgb60c+7Kp1U8t+qvNOESh8HeYEuVh9KEylscZJUrAtl0KugkNN4HmidOh3RQy9APUii41tJ/SPvqNZuaXiYRMwEdWsbwxTgSZ7HXL6CXxNZypr/h0HMOd7fAT1SwKbrxQ9HQNlq6exPhe0jGCWWIpmj/VVOM0r2TGPDsLTc5xt5ajYTaSQrinxqzpp7qbm4P18yEOncKZ2pdNcN2ojt9KdeuOnmGXGN6D1vEyGXe5H4ntzTO7I3bChE4HM8v3fcD2Go4QlB42kZY4k5woiwV5Zrs4RDmBb6roTfhUwZ0uU1T2MP4sTF03FXx9ve5+vWTpi+AyDqFEUDLvje4FYCgYy/eNHsNyKrUxHcx6cguWuSdavLxAbGWOme5NsOT/FkXeux57hGJXYzf879FzvnLGAMVCwILRfsKInGm4tESs9FJ69Bw3xzhs/c6TaQUO/O/q1P2iuxF3JapDYmV9BgFfMmV+3gNcxopIQ0tk8U7xxt7rwB590ZG0TSefZ9LQVwat57Ql58QBh3c1Js2elQzKNS0l6gOwQ17+5hK3Te5RUQBwk3jwZeAELuW3QpS1vVbLFfpyc6JwKQx3AoebY9Jx4pYdyccWIpBItL025hMNTm3ZuLuxwR/B7Eu1lyE3lG7h9c0oIS/G2ew8ewdnagI6PKRrFGYJvrwSUCMoG+nOjnHnFx89pGm5gHeKFrG0uJvBMi+0mgc+vWe9q0F4zpBpoSWXql2AoU8nImfSQOE9+dtEea39wOrtipAG90JblB0DyNl2cszDSkEkyjiNihoMlvv9RgSvAI2CrsnkZvCOICPMsrlpgJcva7rN/huKu47yBKH3sEXi1y6Y3xvhoquGnHEDMj+ffck2bEbMycgwXAHtJ3KTS/eLEunwclagNuDdNFqa2SNGQge7xwO23d49ZtZZCnK3inNUdAf4mDNWqE9iY0WGaQBy8GsjtJEz27kxiesiGv4BTdn9ITgnHUxoAaRk+wmi3QlKG6D6mrwDzy7JOLO7KsaZvJUUsXe6vlT9Xvls+deN4/AqQsuSDo1lis6P8qgcOOb8xnS/nDbEPTWQ3YbIjM6WcPZhfLF4e+OgDDINkkb9lWS7Ccc4jDt9MhH6elPvZb+61MsyJ6FiYVimZ5bhiqAle3WaGbsqZP5C5eM1OYtF35dDisuZqnDhFFtkHKlHNN15tNIz6psFNAJgv5V+Iq0TkKIzHC4Sm4NwSyJO5M/3Mon6hwSW5Blu2XI+GGYKgY9uM4b+ditECgFFGU6LKcbjV+9oaGWvEi0Ks48HRUjrPSRinkPICgxgMZsLcKFr6BaIe0fuEsFK2ch8xQHekpHEmefKsFWtkZAiOc599g2uWt5O6+bUeh/tqlysIZ3YBIcvmYs+ciLCjBHLuA8TGjzA0koMgCdkcTjoagEH6VB7Qp0vt5VMQ/0A9eYsYA/LlXC4D3SHE8LZOg8yg+a1/oitjUIkElXB3vu1R/VPIlq1azGguDcgMqno/sE/jgkcskz2tP4b9Ftb1lfsRGLjwEW5M9rqM3JXcCf878/GY0dqa/knD5JXoQJxi0oh7jjQtbDMrEKkolzHUQdOpw7nY9a6K8zzU/dKLNikn6v0YlSF+HSbBlP6RaqqQ4N/05iBzMo5A0HLfSWd76AXpSLxyLBfDhqyRGwnSrVtyQ7fTNhhN+O4wQuC6WOPdWmOoEoIS48Lgk3+3+6uuVQWatw/gi36p6YbzbZfadyMizipqNzimpxw5K7SHidwGIvr0FD779RLzOLWHLBSswm7mgpl6cLfO6ZGGo9QqEUXj5gs1zX7cR/0kHmCDM6iOK4knscsuLDAlYVYhHiCU0I9/teNcp6FMQvOQLHzD0HX8ZYT/jg28Q5zpYQCwEP238o8yT+0RUhDZq9Qcm5GIriUr533LCnKg4TRgglT3Dnr6SuYvwQCabd56rrlpsaOL+T4zHNuEywQZ25h0JdldHEbuBN/CgM6rWl5yzLTifmikhK7uFN1Eja1No6X/RkZVjk37ModCNz5q9iE6Zj8GWNLyzwFRixI4CGnP1MRN21bvL7E65rBU41JIuBcbg0u5BZ1jv+cduSLRGS/98VNzyFRmFAlEg/mvNzreKohvYwTCtAYM1IksEsylBNoc+O2r72Co0pzAEdQm4T+jhSDSDSyXvHkGLa/Mp6vg9sgMQ2po1ctUtPm2FOqLyVwScXFcS7GU/00KSfU9oCnsaNOR1IA17RMT4TqQccK8hvKDsK+kHr6hAQ8Du+NpoCZ5Vvnf5nAnD40jDErefOlveS78DSYlP84jHdiBCoZSk9p1lEFrk2ELAyEZ/rSLTMIwPsXVu8mVSCMbIyS2JeoRsAY9BcCteUPt7g6KIhjs32GegJVZt+LCIZpeKvTP4JExCc3SEJED8U93QM4fQgmkZIFrunalNkMmXdFs3Yy2Dc+POdZBlgu4vNkRdnftEy3TdGOZzZtYUkkyfEkV8fO894yaXTQUMzuz3wyM6UqYyW/XfGDQc5p70GwEAMiheTQsClP+1ztYo5XqYrfErZEqXdQStQG03hrsjLTB5kn5jWmZnm3VCnol7SburXVvYeyJDGVrVWdRM/Ye8p/Z5I8R8qf/kNlz3wcBdbzv0NUpZGZFlJKebIzNd0vA0lNugHAg/lTi6D3d8r4Y5/Of1Z7qSM4LCa05tcSBHOIoBs4D+9HnHMin8L+5EAtHlhYiqZWWQPZh8mQACgqdNdv42wPKlhmbFU4tjt73ezEvBq5zP6dSMZtojRF2P29gPg4vW5XzF1iuxlb5Pk3GxlRbnXxKSrT7fuT6pOaX2EiwShQNv2U7quKM0CfO+pxRhm87+aGGlwiUMTB/LypH5qvnM40MeW0rZ6Am+IsDzva5+vBDjYc82L/PNTytTcpaSvDFkxMGZjHj+NlkLohkWafQeieRPizmaSGTE8hABOMHS5/0vbEAHKAdcfNV40nORSl4j76s/fzMy5phlueXEct76OktoBVkh4jsms4bJs/H5N7663PjgJnJGdGwoItikn0gLk0XBX8Elumfnjpo4TWg8o8LQn84pIMvLMmARiiLLj4h6PFvidVrKXg60YQvkDfzBM+qYOPIs+UiBQki2TbTb8HWV3//LaalBicKukSPhF+IpPXDCgKqqCD33EWz7BhqNnShGvuKSayEn6pzbp+3Y5C2aBeUHxgNoyLe2fkNFkNTw83m9Eafo/m821QK0Qtj3o3oZUWLeF8BPHXp/glYCWe+PuVfkWxtB/ZtwxokFBuSLd0UWdzT71HDmRsizGpR/c6IVi1W8Mpr8OTSSi05m8Ggfaw9uxoicXF83wybumfHibc31ZzdfqYRVQ5dx/ldlPRNh3fbE9IM8UQv5NuejJZGIFP7r/O9STCrR12Z9dS6pH7Q9eBf/EhvJVbF4OB2eQeoeP1gmcKX3glLOO++9Tg1buaDVlaHhLhA9OvMhAauk1HT/G1mDooAN63e6UVBx7W4dCDlMMporTeT6AuoKoOl0jqMANGDHY9IqKZ/5lmnN2eHB+vwpBGf4/T/x4E7Q7QEsT1IX6ddcKPBc2DZkfdHXbSIsF5yJXuCWzikUdDi4t0prqDEILI2sUun8qHIp1RTF/AioGUbrCIVeNFHO+7MompGA+KjUB+wVIZ0Db/6UcdyOJfUpikGTw3MRnGYRYHC02UE4qE8Yqc2v4hXzb3TXy3jEahiC2W2lewhT2zxqxKS2wagdTbpG9yURzhhNSRhWY6P/KWDtSVdsXuTGf2fyLT7LjE7hwSUVl/nNaIU2119XYNvY/0hbJQMtq1PFLGQzMSUbAoYbuAerqZkWDbkDel1oYhmkRIgNACrz2Vj1QhOmZT7CrpleE+OT9JcMS5gFu175Dy/agKyswTzhNvQk5fMg5LndHmbtRKcyXyrxAWSiNKnW7V+GwoFoyRHqxYvVmsxkhcDAgi7w2tDYHsUxpN8dGMt1k3Qm8SHMvU27Q5WAnOsducgmWver2BmTe0XmKiJIeOtdh1exnjYBoUmL6kH+w1+Oei7dj4rn8OVWSVow192J1wxYCbenJuhqhN1WL1+ENh7aEM+AMmuNIXgu2bsgQZsEWN24T5v7WZcNGfXncjwvpbzHHHafFzfrk3W7KYOIjrNbB+biwG8GHTj9HzerbopRE/4fzzj/fBxajIgxh230/9FVls6BwbcBZ5JZH2cGTyg1n0fKKxpClcqcEE+SNoy5TKDKQPa1NwGYl7ZkRkb9c+s2zbGEaHLLblcV9E2JgT8jA+K6UWw/i57iXe4L6JmMvdaObbd5UwilzpiXJMaMtWV7rtYq7LOY5WqDZrBdyCV+2tjjzKoHYxcD7Ni5LR9OHkWgCofyfajq7YcTexvHHJ+3JtpLqxllmuAXda8XMIJqS08AWkMQl4fVTvvCi+OqEUI+vAaDL38JGEsd2UhCl4hKkVHSUMowXVIlmWzkQzmXOSimjztSUIuy/M92GPJKmYXB2wHzV8LMeKZsQjlBeT0JUw/May97su1caS//azrBnEczif0FKvu+FOO8PGz4hvMkejBoggTIDZ5+Bl1R5MXR4wWdMiiT5s9xrUcJbkZiRjaqXfdOlWSTbSMFQEjNd8eljbbL+IAK/YEGfd42T5K+1svwUTCdog/EIcHwFJd2jf+JX0/azLZEyw1r1J1ijtW+XA9T8j+karZ0xB3OtaGVMu/nFYZLS5e0k+Fz8mEjR2rAjVey6CpGn86xQwzdddyrhAKnv2otbV2K59jx/sXxWKlnMZjGpc5JwdHE7YyjSlUxzVwA+6Q1rvfSKtkG0i38tkZTwYp9kQ2700oeeIw6dmzXAp8KEwjEvDEndQTEXPIaf85RFjg4fciM80RKjsOIRLuUyjcxrIx/v+qujtuw9VyiZJC8vg9AKd1q1faCQkG1sd5Dtrekfr2uruwUWA+3SaMzL0wkQJtt8TcYBQaS7BT3u5z979UL5F0tPcNOgYEDJjfLdzVLcyFcvG/+i7bAi6JFfusi8zNGXF+cX91wLWq5WZ6kiCURA+dq7nKzUndI74FJqQI02qVcbPeaEU2zRcMi2CbqyVnH2OQnmy0yHGGe5FwYpMUOvxGOor3d/alhnbAZB2HUxwSpEJV+dPIxNbocrSxlhxhEWlYXpZqN9Kw4bLV/aWMdtiqefxnoiGN4TjuPwBq325jpageo6s+5IVXqZ1lBtfUU48sELDzRN2P2kJH6dggtBBuj7IzgQq5IYgY9CPVvvBTO2jL4D97195oFvdC8lrWsivq811//2fVwwHJK8u020TJKhPABRUkH/y9ThyCusCVn8NQfxtcbx7sK6pInXCjZiSDzfyFdyD0U85O8f8rF54SYSc4iwx+P6tLFoCMmHy9DJAhPZryIz28Yl+wv/YDFEe9kqMs5x9KpjOT+A5duXy2Fv4EWw2QlmE00b8CkYRY76JN9tbM8sGc4QMaTBSYgbykeqWyM0AYVWMT/Sk+UwA3MYTsZuuyqYnJ5r+7BAY5JGRxY/Re5W2e3u6D5B1dsecJ7UCFkgPP6fSGc/cSzaX0k9FVZ9pwGIDpIDqpJhfqDSxjuP8LOQ/39gapoQcCP6+BMBaf0miDwqGOz8YAxaqX+RRgONlQAb7y2W+7LCFZconUdyvV5OXg4GP1jRjYYqDJ377Wol7+8kN2ZKKc+k0fUENsPLVwxwC0wj+R7dtz0ohd7IlmDJmAY6fsL4K0PAcFN5gicQaA269Us2WwRSIhjGKggmcaQes/SjpMV/6Xsjynhmb5gumNOf7mCqDh/DKJytCCtwBmcjOsEXetnZA/4DZNnKpXw4hOY/MqntihLuugWWOLFUUN2BRxfNToa+7O4W2pUW0ko1rE8n9XQuiiK37zhQPJKXIUOg2hAwaoHVzffoQdD3EDXHr3aLcYZXTFPulPS4WsBtUlJgd858wHUi4IXcqJG7g0qXHqc/ENabd7bJta4Scpx3LrBhQ/fbiqxr+UCbjPQB1ZIMN0BrTTV7FdyH+DVBN/McYhy3kQKYdhTJ6IQqxfbTwrbxZnlevWjZ1v7eSWTKcJSh0XouW4jtM2SIFMUxMjiXf9NMJpdOxcVwSyHZ8jeBRfXGSJE5m//aZrNCoZRhL9pN228xVeend4WpAgPq6QpEe2yR7dxPQVqiByiTlt5eLt1H/8KW2BO0P3eafMf5zWLt9kocOeTo/kmzqRe6mPF5vtjz4aeOME5vVcbv1L3vQWjnTeSaDkYmykjb3ClhjMg7O8N5OsIbl8vnZfediPLP4xQshBVZPIfp28aL/M9/MCfEtq6VK1N7K+U+VptgwlxESawMFEEvmxY26T2d3t7ImE934lA5U4qvnMeCDQ+pCEH2pQFABndsNMQWHM+7Q2U+eGkbWcjvdDoy0MjOTPTNtBdZOBmpKCW/yrXClybNL4K459gJAlftAifdv5h6AzN05HyoCC8EHKm5ba7zB923oeesatTm/6+p15leyS1ZDs3hFZsEwzTf4RzvzzOP7l5rgYLeTrrd6hYuspQX00D5fUvxb/NMQNAE8+zSCVUxGjdNsxyTAh+roFXeRIpGnQZtZIX3YrhxmjUOWuRDQc6Kvx9jSmjNFjoS6xmMhF2zhtMligIQT1FHtdm+70GKaxtEIcUL0jCVNmL/oPZWS6RXD2H+XwxA4SbhYsC+MsezcC0TOyeRFF3bINt9KEK/QXSWBbPu0zk8deMkLYePREACZOePA/Te2YUkZFC7oPgTQrEiC6mMvMCCtqa8Ov/oW4sgCWMGEr70AosgJ6v7fMGWJsy+zubHIWZIM3lHUCWrwMSpkK2aEMCxeDsXF+0NzpACaQGO6l6N1wS9Yd9fttSVVB9TPq/+rxnHdeG9VWkZAH2gG+nY1e+WAEl85CuPxVMYQbjCwVJTgEEiiesmG/BOQScvwYPmQeeqsuXInPg1PRXrJXZ49kTvQ6aQ/02jMnN2mhU4Z5f1HWNw2DcLI+n54cp1HCPjOwMdZz8RuFpv38os9QHmiHPOGwJxOEBQPLasMHv+tGnzawUK3Nz45KdIsSqxMJKLHZ+ThoKp7m15R3SlCqsT+SHqFECTCD1y7otb8tzCE9xpxTTCyCx/Tb6QzBhIf+OznKnXLofkPB+OmWmVLPlNWznzc4rrBABZFha6uwx9UzT5eijB39QRwSu5EqswzysryeFUgDKDqrnD9IRwJ8rt/zdMfkTMRXAfkGyyLaute4uFhExFBCswt2teEfKGmAa8YtXXZeAzPd1Y4Hw1H0V/Nx3hesdyKwAnSjxEki1zUvdZLqSbuwDQprNXKBAAPjggY1JIPWjmEU54mp6OpVXSZs0J8Oy9rlkS05fEUbRPUAAPiubuY9c1ifHiR0rfwYTjgM1ZK6ADgdHiKk9kUMiveRg1UJpYt0eJeyMafAgOEvt5gGlLcTHg742khNmHPu+Ggjyfm3xOyUG5vaSk4e6LJ5feGRxFTNJOz7u4xKr5qP9+zJEVqfh8HjZg3Ew3UZbLOlTszCXijhZN2VcDhJUrBIbQBVmk+KhwKUTEDXcK1BMPi6VoNUDywsMa/P0XXylxS4AwXe3w36dOmoRHWN8xEx3UU2gskawkO9pX/uquxzk0oxCPnvd7LntUp9+8t9MoWopm2uvWkyIZSDKvoCKPdHXeS/PbuIRR9gAQ402FDD+9n6Nb9NMT9GvV4zOAds5FSWw0PjvFKIyhjbES3GfkUHyBiwOIXec0NHbzpG1IQcevEHxhTeFWoO2WcrD6DjZix/M1KyIURR9jo1R+U0rCPAFypI62ndOP3tnsZWZKB9jTImacTj2PXzP8osy6khj4Ru9U/Ax0FkMNMjZlt7+pacAeLL2CjHOrYVrEH3ff+ZfFP+Gwst7Lg/n+V83gSNXNMCPMxml3QQZHnrelUAsVz6fdI1FuAosweLg432/IU75tfYa6PX2j5ZsVb3XN6m/Clxb6xC7JFzpVFufA8HR5f+/+sK2gh4+3zYNo4ZujDB7ZkTIuqLPQ10fu8omTebtmm6tErKkD8HH59wdBQf0jxzP2zoq7Pj6ZiSb84U4XpukhuX49J2ADx2wG1DydbsU5an3ZUQVVFLeqTadlKdpQha1ohibOWw0j8b6MyoqGvQYvUxX89Kc//1h0zSZdYLbv+dyUnO88p7urQr5HuN23tpf7+HhoB9+7jz5gLvrD5K8UfoYzINtuwCqv3w8tjXUjM8BVT8uB7KReOQgCJx/ragNtoB2bKSk+b2toSOSfRQbc/65cwnT4Pxi1c45iox267oHjLQQ+pkIy31uBAOaGBpEkj93PYPrpbRDV+KKlF6XAw8H4EZ6/isopoXK7uRIRkoF66qMdv5ptQCYLt5pJd/VsnulvCDEUsyOX2dywFjfx7lC8EKzxY1KeSLgfgtdbCCXWrOl+4oCxS+jMQo0vp8LXDNx75OBoh6msiRTw/rpPtEY7Vgzqt+9/0Ofp5fdG7iz3hbPcbTH0vClv90zGz4fxHBPztnuqNHD0fjVTRhR9R3RcjUnpbBBVgXIRPdkNTdy7MREPVmsG5wv3iYvkoexZT9QaasHSGZOwW6OzNGkDNrRBKJ9VedF62ntcfPsUfzpEcd4i7iEEQMUw8aQZpC8oKyltFkpokhu9lYMPfsdX+rY5Ss7fPSnX+5LzNEe1OilLhZQ/SyrD8CLjzTGwAveeapf7T0aFiqwP2CIRdikZRP6bUHayiCLiep1cUXThWzxARqr+c47t3qAOkisFmS9UxfmoEivbzeu0OGvm7XGKEcCsk9FSyy0UtaZIFWW2copPDFUl7po/dWltM82NezC0HNcljkYDG0BQY72TDPmzWRcS9ggPDmm1pbrzBVv1kpsGIwPc8uXHdXVGW7XMd5wvdx9w13j6/15wgxIRXTLOhDpUTH2lk2vhGSWhyoZidGksz7aSb+yIFFWlWwFTLDXH1lF/S+WhvJJyEfjz9XkY6ke2drSzpwoWEOQa6hMnTOY+nzpDdCpgkfA7AnkLSnVNeluvwBOYCsbFbeWemW+GudWG3hHdutq/CgNPJl5bDqMYQ7DrMssefmuBpRHWGN0b+Qc/cC7xGwx1NIsQ8cYMPtsH9Qc+fPs+hyd/Yle4tgSNmZjSz3Tc0t3c2upnTVmJC6HPk6WwT6BJOyL7xp1Ebt5/c33Squ8tn+slTPvBsMlKnc77/ML4u87PZAzy8itKgFAh7d9f6tx6tO/nUXWyf0yWekbXx/MRy35YonnQUimaLL6JPPdYQAp1Xxd7zak6ufiSRnhXTnk6emWm1KM8ByTUva5aI+ms3j1IVJDNlJy3KMZVMeM1P9L2/0tNzrQrSHhAPtyqKw4iOurNx09LQ8tadie33KjOIldqlTIMEf8i2cAdsUQld9dyD1QsDUdkOeQGT5qd2zgc9uDhAswA2kN0UdoTvJ8WX9Vc35BIGKdaYu+/eKDL/nWaT6mN/PEwVnq9XbbAcDHOVqXzqvlAoNZ5bIrAmH8Dn7UuY8/yt9ZXrMSHFmRfSzCU4dLcZB2DUz1CJsoP7S3g8aQCVY6kZrt+9Qb0fmgSiP3lLpVhbmdKcTYq3nte0qPRntCAR6l6WNhRXpeseD4/92eWfo0Sk9XB7F2Iryj4D75dyvqVMljW/jdvJuR6fjh9zp7Q36OzGw6g7ZVKjfU85bLsxiUZ6Ep/5ik5HBPPNrFSTvBE3K1OvbTUwZfEt8f8a+NmY5sYTbSXohPdUT3YPPgqCwWcltgUOd5cK3bcuHQy62UvVrHVQbhpPfH0W15pYGIA/srCRjtCHTCGoD5Ea6KyuhEV4Oa0C5+I64aTHBTCBsJdFDergG/gqREsDsOf/pViOxrksT3kCVMU9LpUS45lBz5AsQZ9s7QdkNoHLJLIKuurXGp8lBKtNOfZKgKsW5Mf59RSTD+x4cgwsuOkBmDyZCLNH/4fXNdClAj+mBGRKjLeYthfDQOXlMoZBThLvYaI6OcBqgRgmpmog+2uZu/qROjdq07U5ZlnQiPXRKrAK4Od5v2OMXepm+GjSjmVD9RaagGuoAc3ZeHD3GDuJJoKxd5zYZGhFx2PFxJ2NFfhTkDGGOL94+g4WsnW0UbTFiwGno/FDhIseHBt+NgxF+Zy3bRTQxqpkY8/h66OCbAODFRpDz0O8XKUqHFkhI5GUTy08emu/IfBQbW5uflq7rndDlSWqWf809Buv35PjnHewkAd8IPLPhS0yjtwvBYqVduzT82SlQ8AoKpbB/XLpHcihsGTHX6pa6jmCpeqUg8rrPCo5wULS196Kgl559vWUJRgNI6lZA8at/O4mKfcVRc+UYdwxqofiu3z41vBOahid7cgrlMmEk30XCHNjuC88E37W948XQzImPyaiLnJOZe6jnQxBWexxjI8ooAEMnlaZfGDgK7Wwb1gD5reqilqfO5oPg6PJMKKcTWhEae17JMvhh13mq9FutA07wmHSk3mrd5vdRjDFcs91PTR9S8ZsFqBtDsVrdopydR/jwujD6+QUAvkRiMkwWQRjlJX48EFNO5zvEHsyV+tC48PobfEQjEQvAK+wExv8GJIpxywjllJNiArud8NmGF7H8rdG6JjRym1bP+NjJcs4uP+26Epa6WlLb0zBdthe3NwfIe4G+afTdEDNGzjp11jjxIX0tf078yzZTkGQXWxgLDWr7e1s0SSZjEFqtfuBMSFQs8d7/59HXbJW98wkEWrr7C7VVhd4SQ5JPl7Xk3SMsaOJ5Kbq4XUxvhLPQWdB++jJhktc681AxWmC2alZGRgkqsqBtS04kK4K0GLOsz2zLimHnM8WqPK+QmZ5KcXwDE/ELQSDumxx5T6lWArPsqEeOKVYJlpTqIpDAB5lq8im9Qro36+n+4TDXibaK7f+exXqBKUgFg5UxTCSyHI/0npXcd/h0uFV06OCCmfyRzEiCAIj7iWsfRlgOIt5LmbVY3RJMJkdiJ7ESHHXAW6u4uNLNCUYvYJkhhSclpRaDWilR3HH0N6Cex5biQ+HcFJwNWc9KPE+cO8DVyImmKSqhvCHF88iPjrlrn41JKJnIhY8bPT48W+B9kHtI1FR/5/I+AZCFfonK7/rIV176Vjb6Nm/Q7wu8wo6DyDIpp9oDKAEWtjLhTY75VUUxNmDv+JLsaSVCN81iAs8N/27p4GWg+gBs6AwWqh04FlGgpeFR/E4kzq67vukbE22aNH1rDbW2MqLMghLNxCtP1+RcZyOv467VdPjKEQ45zkSO+8HEAly4yT971aJvpEXKkpsekVBs8BLqlzCwcUncVY0Z2hjL/TbtM/6zwNG923zUEfIoiCLbQ6YjQutbV8lo4aUqwRauVNB7alIWLdHlLZOJpKee5ZZnO0J1rczRA3yofF/k9MvkzNDEiN4amN3QvyAHgqxYF7qORcZUav801nu7maaTuryTy7VvHDQ/XiO9qCIfgyVlDqNvbh1MYT8KWoBcN9xm6NbLbZzueQAVLmJMHfzcdqqdezm+hCsQ15VXgv6W/re4tmHgKQvuvP5kdxutOpMfDCjrRAWGW20mvwvlAgn8AMobqAFoEk2QXhaW8MNYX2j4CqSzUn3ngLzYkLtRWOk4zpIdlH0ilhhG9FEr+BMMQliWnlCuc77cyGBCG69ilqkuqc5zH9djFZAXooBi4V5ql3CpBRIYrs17QjeW1dKL04XhbX5l6T/EI1DLb0TnuKIIo9edIpAWOUCb6kdAgqzeDwxY94D+TMaoiI9JR2SN4WrFvwu+WLRmBgCRsZWRwA1mZDkR0LzOH7KoHDgmpMl1u5rKpbd4/STYmtbYaUGuL20bIGR/d4akPIkZghZP2unvk5nxpdxJd2ibuYrWzLg3S7c9mJ2lLXP16/Nqfhdm7HrM28h9qnDTICOColssYrfuYSceAgb2I0qXbqLyaemX+YeD1PnuDcHYATGjfY4rACjE53qdF+GHIWL18wbjweHyFXRVLFMSlB55rY0r6XV8gOGDLd1yMxN1DY7uVN8N2fV25nhu5qUW5a8Szrss3HHzoymMcIFX0BIVAcJ96keaChlit+d81VWYDDZ7FE7V0Lq+z5v/1zVjQhZbN1bK62m9qT+tGeJhTRmUw+lJoQ07kYkeRF42cXBGDwl1j/A5EtHBGZuHh3q4vE11VvbWrULgV/T5Wk13jAPkxAni4Xz6D1qCMT7jMsdjhWzuuiRSkeAHlJpobQywnyhF1KGLnys6GoxfWGtT40p/vYQEbO4ofNtL0o/G7onHw5MlqHu8YW8oO8Ckn7VvVJXIPh9rjdtA189s5OGYS1c9VVkpTYACrll7/Ga+O78D/nn/wm5COWvCmltUNPfZOaeTQYwj5iHpGPqvez3IaotB8OziDZnH2NOy6Dqhko2v7VwhCCipnr6LxJjA+oYNGCRcBeMff+pBAr4PfHG1Zvhq3hyxmJlzidPCoAtjlzOwHi0dvHia1NoR3EfRID+iFNHMkQptj052jl5E2n1I/7caGIYRr61/20YqdmjdGMXLs/LFL2Izzid55Exjx8rwZY9xwJjfXLA946rxdgcmzg8LB4woHrjt0Z6Kao8UE1//tkwWvXm1FdSJZ38X/zqOKw1B6eGNfw//iGYiPq4wZzW/7x2bBx0q/wqBXWtzDiY8apKcxuemD/uXSVVaeMk0f8KEmmsGueOu+ujcXd2Sbm8rMr03TMgisaJjUrRRXziW8RbmV0a5sH3YjcvdQxk3k8xZZF6ozYG97MOvNwpIx9IVnpTpliYiryCuidbfofdPcMkIG+Z6lQ6ARf4mw+Bq8BehtFMgyPlRfDpfeYCpYLjbLgpcwi1lBhbDJzyQ4+LY3zrZiaEVYB4bKR5kLvTZVFHpv8jyugzbE/aqmik/VFGsnjqbVI2slXOMafDf7/tl5N/W5b3Uc7rnF+2DrG0X7akm9G7/GhG27tPanIGTWXDmmZwj83GI6Kyv7wAxgeXkv0NBSiVocxUhadTprMhKxKqfyvymnTqeEmFzKxhIH/d1l7mvlE5oZ/jFmFDOrQIEsstmMqLcID3Fu7ZzrrU4Emaox/te+1MtdneSN6iuBu7GwdDhVAUov7ptpakAYLFukljPHPGhdZuKZpCyfE4aA5cuDSabJxSRJ1ruvx4UKvzSSVrE3bHdK0vs3xpJP6FY/kh0DK1ZrRU+xdewjfy17AVEu42pQ6UvvBZJ73lQd0kKgjGusbuILfD7CTggYzKjGUpUX4VuFuvYWR0JO6GduNhngtZsRydWL8hzl8I69brNRohBK6ciLM9NVDKnVHchJi4Jb1FMd5b6RWt1i5j1pitRNIOUIp/uLJ+b5CUBlC79OK6gKlq4Bh0HFWPbqbZfrxDX9IVYZJ7d/SbF/dxHjKhkbaMH9yg3+vBBh/Hw/zUN2hoLoK7SQ7Rlv7CzJYzBXxQY/gYFVG2tZPGdldlaZWmsY+uTw59hlQb3C38AelIpZQLEoTwHnSblrcwLvp6IgBuGv7fnsUhKNwp3D4qAwXTyl8gPX6A8PXFZZWr3KmlPsTuuDcyebKkAhsjLwIBo05Yd9ZEZVNf4ZLBioKhDY4QwwGZ1JpO/qBkVQe6EG47xKTL12lzlAFJdHjADBH9QCHMKO0Xx6v7ZkPxkFEzgNNbXlIfbF1TRDS8+OV7q82HWQcdmo8RGbTHzHHbQvTi5MgOmKSWrbjEgYVCsPvvKv6v3fnIY8aqnF/D2zozWXMK7VNRnuvt0MnBjt8WATUlxcIooxwsnx6nubUw+fWV0s74bRu7/AOV4Sn7U/lHtTXMdVlfdOMVycFRsB8drWgCMaJvAjq8sLx+RU0iud7NJRtS9FJr4YomUEMuSKpS9Iot9htxdVaoUnWtvoK+dsoX9L7rcTQ4A9Rl6YdBduCskLNAq7rJ9lSf5GLdYK+MYnboe7if6va5oTTCI3xsfnHCwRXgQEuvSqcwDcQ0Ea3oepNU+oRKoEAGGQp4R6P0Z0ZZHazc35Gsjv8c2bNkFibd5GCqgxIhJxsHo+xO3RsnuzYroUpzCnnQa1P3afhaLbGZIyFtNCjei6iTQs+s9QvbW2DQ2lCNxD1ALzHyBGJ0OY3epqGkYJfP/5c0kMiQurLNeT3u9JCWeNwUCxhqrV0xU7n0+rjuoW7WstmmI/R8sPb7zVevDgX4EbwE9aiOgGvAqW8ONyH8osPQxBsZIE5NI045oPbh5s5tx7Zu5fLPs8mmUDBJzRijnQ9MCq4T38BlAy8eLMLZOpymokcNK/lkZQSpQibolMfQFO2A2bqETiAO6OFSLLqmbVQEaufOfcPrka334PlaLUuQ3HgzRp02zJAG5z1r6tsVozzJjs4EUUsCrDkZS0SrZWrFxAzq0KbudembWfIQpDFUn1PeiON88IYZCPQPz3vM3u0nXoPhizMB6sJRrkeXd2cf+Ha1sz+EFIw74dRS+fFH0nobl5CuMCBWewo5aqQewlf6QMq0LAtNQrZBvpJcocmiym72lCZY45EWJ3GXKjZQ4+QMItwdbXk09MsHrugbEEUv1rhKxCTGup+h8WosJ9jN8lEMhkc1/zuIUAxISBSWT6+IF3st3MkCG2vnimopuwZLG/QQSzlCJCWeqtkTVNMOPen2DGQyiLi7LgpjD+QBIelbk4nWi8GJwScb7HILalr7kXrZcB2+jyO7exk3dBpSMcaiXKE0Xpd1VLG0A0eIiQAU9KfaUbN9iTPHM0zgPQ+1AwiigIg+I1HVKSIDnMRS4bzrrCqa4AeGI47neLSLbM+ffpWi0dtqVhjfAVvZH5++ytw4NMLfcBDpX17AjX51OWOqdWmXZSyremAR3VJDKMs1xWFedU+qVSXgh+G82j3cO6Fj+coc5p8VzQmU9FuFeDaMOmGB75BUCjaFbW6LS5rJCa+DTZBW9pyTVxMU5fxdCumaciHNJ+BsjN/zuMSEO9hTB4fZA0hKPWU32vhD/7HIQo+YbRXEcIADudXlmBfIYCqsH69uuQmG/wHZY82aWiochjvpVqgGgZAljKEfhZsJ44WMoqtS5rcdTeRC+f9/of0zWpaBcp9Nv2/R8+z3EG619hLsCeFcL7Yp+f2Zz/YJgoX3D0WhPClDDdYI2bwND8q0f1hOlhFADIfMiBEN56n4N/F7s4LWaqIwWlCgd+CUFs+XxFLN9ET8NNukkZ/JYI7xA8JzgpGQdS/RkQYp0cAtYlbyYWrVm0koQwOCcPOH1nxXMsBs4V8tg4Jox9kwWSxmla0VSIM9OmewSIvkVzx/CjT20oZ5XqIn8Ddk63GbUaY5ds6JHUjKL1WuA+fwofwVYYwE1+M4CqzMhI8TSMpikm8y6Miyuu+aHXya0cgFmOhbKX5k6Lwqh6wEKn8FmHVNiSGdeZkEGTRx1b9vsELrUjlJLQCO0t2TZeyVzs3R+h7BX3ciN8WhV8OAA7tWQrAGPJoSGWI2xhY+nr8xn65Bsi0eUn3jZAn8r1L9tOTgxz+tKjVePj10nH7vzGtaOAo3fEZiLqFhwFcuChN4ptPrIkeh4ZLMfmoGtxsqS4N7qG54OCTRTy8sHh4YbYU5xEfW3iuBwjVsfsqSXfFJrxTc8bV5LGnsS4UPIZQ9ugv8G3zNDl8sVOccndP7Hg3+ThL/HiGyoVO34PgPrGcEveN8BSrtRFyRa2UHrd1kS/0lfmQJ7ENtV9Bll09W2zvrojkThC8UVAiq6OD1kb5gxUQPGoHhNf3ubj9StG8ghxhoOW01/CFA5DkUUf/VaosHU4/1Y5opbvXFURK9ICZR/xkofZgllUUr61EdaBYWO/saXZsqn7LMDV0RynQAFcfGYf/8tk1onzOFruOvp19YZO+j8JPfMoXOU2+LUgZWqmAQQrSMcZ+YUhy+gO0f+4jf39DxPXKZm7BqddmyjOQA1rixWBKdZz13jIOoJocOGIa3YWaoa4is+0h+qiTI37cvFPBH7G65bupfQ2sfu7GRoSdwar5xrD2hfFAMxzcpnZd6K49VL726P3bEUIQ+A+AcJyE+X6YMjKO7HLdNXIxdpmPss15cYRffaJXLLbs8FZKRUu9sytHgC5AVcj1LbVBFckxjOHGp8R90Mky0haivWeEGHFTMqAP3mTJ7N2T7nJJJhDbI9oBOd8SEr5sOhyTuq85PynCRi0LbKRnsZ9B/kvHwBon5R0VxltGEvrz0l5mQFcLU08M1R7c5KKveZX0hm1v3JiP5sATrz0Yqel2FCcfJD91AzSYTtypTi448G9BqMCoq6IUKXJazMc78mVQSby+SvpiekXMbnyHcfMQBUtHvStMuFpYHYYs40AVYC9j70LhacXtrlVdy2IVN/jfsj/Hyc+XF8U50SiqIh/c4KC8sYXNA7dkDkZcCDIXXoxTpRaM3R3g1oxpT4bozUuOv3SDMHpvoVLXNp4uh+bftT/fhh1ZSjrRaVsnkzl8nkKutt07wTS5emzCAVBQAiU7J6BRpchRJvYaHk9cnIJboTm4pSfrpEimCFb8ZF9rB4l5BCilO/NB5BOUk38HkmhSEUB0S04L8zvfc3+u1U4UwZARiFwx8nhD9xGwFOM13VpI3LFyf4K33HeflBmDHuccf7tYlZknD65HtcxGyZEy4/Sd1S2i8uSYAKjV9vhM3EVpysW+L3fzDb4TphmUEY/9fyuzcXuZhR5AxmnO9It5WWuICjNm6ROyv6EHhDm+HD1BlQMBUgvR5CPUk2pc5FSOzOe+hDEs1CZFkwjlCkvsphiYLUuriFUK7DLiKx5dZjKlW076V4TSxAwkdGDr33HoW4AWaUoxXybvYIrG8j2weqbcnMnZkVRCyc8340VZzzPuJMlvtBDfLC2q7HyVMdLgqi61qqdj6FrgIQe+aV+wwu92hOGwxhW293eUY4qTd2bRKSxfVgto0YqceOp9L8QDWwmg/wpo7Z87rzvOOPReAwdYBFrUGuSvQKWgGwEe7yF6U/AUkKJRLvhXLUkJiw/n3sOpNdzK14i51Igodu/oDA1M5ip8K462ujjSnofi2YSwjivDgVM1JcxbcYN89RvZbrMLTfsWKWCi1YjK1Nmlq7YqOa3D4ZX76WX0QS+BRVJtYCtX88zPeKBo3Fyioe74dos0ky4t9Lg8Zx8YX5LoUtDNUCn3wVzcDZF81Akg9ujKDbVeRTnYMXiKxjhoroj6vL4MumaFhgZeBeWu4nHjM9n7OsjNlZtUzS/KPv2mu1Pp7+vfuhN/8DMohUrLHM1NIu68XG6gofAQMuOWjFbKNxB7l7qQIJiKr3Ksi+Is6Ggf0ickwukiZyb+A6q0tbJuS5MNJVYt+0/TIfONxBBFzNVM7JgeIh3bPAB/3rFj4i/CgJ/Z7mZObiX2bOzQ5GOwOhVO/3+C+0wUWIs/b79ZQZbyhQ+hqRw6xeKPK7i5GvHf+TDB73oEjHKXE5q/az0COYk9Bc20NBqcxXjItPvE/DEbZsPwxh8ZozVDXEmz6Xs+QGJGWwbt5XyYoHdyfbpZwNMQFqTLmOGKC30T4W1H4JmdFuXSvc27zaQZHq/kHEOYgXnAYJPc4/vH1e38bjsPyh6td74eLibB6ddQUwV3v3HRHXAwSOJNNsZbZSzqa/mC/vntOdIZf0AmgeK7mvTvWsGDnqSsaFzlIKnLR/r/Je024KsrZHxwX1q943BKevyHkoOWSJg4KZv9LM77YuBkr4R9lYk17UegjFykxvLISzggyQsuMVWlYmpcgXg6eMgkie8V6qzphg+yEZ/JXAJjLC2rf87imN5Z8ZD43Z/ek8F6jP38yMZ7HadLdKot4oneopBfUDLUtlzqmABfumfa4/yR9x6mcVjFOHzzPJdrEvl4ri8YimrRFEl4iCvRfq9D0HTT0DOgGEWML8Q/kQvhkEUvPFeFub1L6u2cG3HpMIF869dAKz7pDeN20089ypTyDZkFbneJ+kLtmGftY7qfuiT1l16uaNBIbu5zrEqA+iR48+JzD9FiFOIM5aAxf6sGRvfWT1aI1D2Ij2P2NiTcAXUrSxWz1lXz15HM9Qh4o2mF861oC1Cg8k/qPiXqUIgDy6DCx9FeZgjwarYWTPCWYi2dq5PcG/uHiDNgsYOY15qF7d1KG8uOgdDXnt54FRK7u44hzH8aLapnUSMPw4w7OI5aWOqB0Nbxj23Ci89if2ngzQkVvgOwI4D39IzOO2F//ZquKqUVDn5pQLwkG7TOQbsyMXmUZ3J6l9c8IZdZf0arai/10jJCcOU/dvIN4GRV0api08nEcqInrVQcuf2Agb5NlsHhvcU/hZKXMJ7+0rirDbth4PQZ+iqpooJeC48sPtEhpMGBSFQkdrB700MyecybgXbPHPRtGdKrFNhozRNljrB7mJoJuo/6LMmy3S7l/EOHjGJD5Q55ETeHLwbhIA4OukCvtbXuWW4e48e8n7lxtzyNLk71IxQwHVeb1SFYJ4xvFBldF0fP/m0OIJoyyslNGCcKzI6X0EnVQNaP1j2uVdcw0KUWTCH6qkvStevYasDVEjXISrNhrtuTypDhhhIMQU530BjTRImjZWFeX2xjMz7o+8P+aZcVpbaJwcwASTDRrwvLr1Z+Ig7vqUGvJPKowIOQqT4HHXehE4HYTE2HBciCk6ZxTOFTilzEbXxtKmcPIUyvzlTwC/jS8r9SMPBHcV//B2/4PaiihG1IoSMwa30auTIHC5ke4XKU0u1q4YBD1/Ilr9iPm9oCMfQzLqiLJJ6NmXO0iBPzs2vHBR+3UjO1YC+oJWIcPqJz9QIpUgKBLsgqMbhJwyXV1cNNVYCtU96x7o0OsK0OTmUK7rBhKSlxzWwGVQBbSyxZWWuywrj9E7rrT6Wbn+n2elqxHgPUBv3CvI2+9+2RVPZU1iNbHhaiSsoiTU4OpSE9Fible3deDaQBqlnqaEdQs+0g2ZtEeu37z5GoRmOoj2c2OktsUctpqa7aHaluBGr22ELSslVd9VuSIRUWtNs7cghuxdjfEYqmjGuGV4zr3HC8APpfnwANosKPH0z7oImG7xecn3xiLI1TZDul4Oi49S3Rq+pHM2ZDuWYDaNXK5Y/cJyp1jwzmFZpa32vrggW7ZcnMzBtmIweLHeamkCU9HZlYF5gSEDI4ObkQjMd9HQ4LoaJN+SgHK6LZnXUAncbMB9Tr6a69QC5IQpb+sJlH5hQ+nheg0ypvNfNDDD3rVfHJmihuWR1ps+bcMaNEbibToYwa56/ToL8ytnuP/IkF2VJmJ76LMJCsmt4q8YELznTJp4TPrl1xi00qvQr1Egg9a4/Oij5nKUVFqrjeAfD/s7Dyauiff+kdaAHqobelJIkp8EqTDZHC40EDCLujGT626u1Dmi8XgBft1eFm5TN9VeKwHg8pF+U+zt0YS9/RXImXxp7ajD2JbkaaKUOcqxVVT96jRLYpfpToFwOFzBp6fammM3m5YsdGRUnRwhMW4pVXjNYH9vB1GAAJzehjBFV+MAC09VMQZSuBEROhSTfnNDBMPFSSLlEzybQ2RbLx9Dvxta60FYDT/lS/TlVmjgQB7cPZeYB57ZY0PCvUtYTwdVfCt71YPyQEaPhAqlpzEBO/r/HKevXj61JHlT0VzUNmr6ZVLuDc0BB495sEVXySx7KLsIxbbZ/275HaTkn1YoiFWXhphHJkXsvVCKRb5+qDVi7/Q/BcKLJNUQnyeYvVY6UEG34v2+cimQyytTKkgCXSMmO9t8EGsfsDorP4HYU6ig52zizqvGko05IM0bu8+n32nRrjkb/9nzU+m4GEFqL8KCWNlz5M3CCi1qf2nivCnxEb7JFZBvt7QgATUIMI6VzOv4WAo5cOgWTwfzXCyhaspyxUgzlQhEhxcIX5Qn/CHqjamRco+72bBTenCxXQe9lswW+s4Q5GuURMf4OmgpE7IYdQBZtu9lPY8tNXnLejjTgHq5aJKxI49sMP9PykY/ws6P49TFrd3fpmFYUd5Z7ei77lCJJcCT2geRDIJkUMrqTBuhsn6eq7BkC4jCYgS12G/2aofEPnBSTDBr3JSHQJrWHAD82Cm4DQ52O6FF2sWh1T5S4nENFKsqigWAY1MFnANTPMSJwt+qIyOmq8DZKnZu/Q9LXyxU0Ruyx1XdGpbeUk5hUF6TPjDjVt03wpl1Z9Z9nDfte4MU1x8NCXBiQcEfWcaboJLtGx3MysIlHAgv2hNy59qa8FGWFkLKANMH0UVdneMlLE7xtF7fnKfMnloIk5dDBOVWCYdrgFSHF0KeU2FinQnHUMe0YcG2/PC4ClHjdnrCHajOvD923ZhEjiKsaTYXfBMaHiUaSzfnO/i4cSBDAQN+PUcdW/haTfu4U5LvekxqelzVmF504reV8bXkTxv/H59Jk8wjl+3ufCxebijiigptwrYL3jYlfwOm20XS0Rm8acq4ybEedDoB9kjPNp8QbI9gsK+014tJEHG5CoKhJ0UKMj2de0FCS91R/vOn+jKamn/KWNLGK0oQa88NqR5aJT1bNumeavCtJsf963+dG3vQuPS9/IXwBuGwjCKZpjQ9308UOKwIwcBoxc+Y2v0t9tqD4MxZacFu3SuTHHiHvciJmvmJAdQPdBOIqOYWLliagBhJShfinD5EaIUlnZzzq3BHi2CcbU892CICywDdHFsYBfF692HxXlJwRg0YW6Hp6lhcZgU9f+HYixS0JdXdDztk8WWY0OvW2BiUXRE3ASl3cktJofRng3UTNyYcay5gr59VWAbm/0nZM+VxFW4oGyiT3sQLiIGDEFzArSLEaO7Sgapo8MtQDdiwgNsV+kGJEdujGu4T4rN3pg221ZYJ4RluhsbYc9hTsbOcWs33vs3MA2rE2igSb8oJCyqvo23oD8LdTjurMMkFoc2uWjn1yuSgWsvBSZLkBJ5LDaIcXT+jLi2tgDiCpp1O3NpROXi/vC37HHuMaufHdk5pt/w0vZeItYbG/LRNClqYWYboiwpYUO29qyKXIPVThIt3zO21xD9aasq/wrYT/xqC2Y4F1r7MM7oZqAvQJega7gkLep7BS+bH4MBsjbCmehyjQD1/CpoPaB+h+hhEC4pq11p5QrT6Fw4Ae3bv/R6HsGxzjqXQH6j3T99ftzvUECMeuzE4GsBvYq64Mn9lgEOvDim4fTFpQlUT7cy2PGqH2az0FzlF+5zflAuCA49/1a99pSkhkD4qyKJfGSRUbRtzCpMF/RjHmfqs+OGwFvTsRIsYkP5/9kcJyuvdC7SFbcJZDTtuYDpPXDSeAdU5YvFAtvFWTXsKhDkocXJruakjABVUupaTEsleMvQYcc0+6C4vaIbU8BxriJT3yLMPmIBaF5yFlQ6RMyMuriUQHJNTJccD2p4f/KqjHb8HNYFImijh+NvFlD+bE1TWoyBf+o7N30q/ZxHxzqo6zRhSHQ4GsNhWrynuDhQ67P2OVBtKl/MQQDtn0krD20bmSkowSzQgxnJxILOE+WMMJfdw2i1U7fD8jrRDG8MHxVrBydsCMQWQKAFivTxmuPMrJ5mVX3gg9ag2y5Gm0TYerWeQyUA995ueb6KMH6N/wjPy9wdOBVGq9BjqCOiQLqvi7zfJwbTj3uTNRSPgPMQUYRdqtUbyB2DdaLCukAY00zVasKM9R6Jr2jJ7Z+na6NF66gEQ/TnN+9NbtxHemTji2YqOLwMvvLTLQ6+bu3EwGK5vUELlxysFpNgpT5QQfeLBnPfaAAZ4QWPvE9eKWx8TloQA3Xv/xjTh2vTlG221J1BAxMxr5fHbEpjv7ms/sm7Yuj8JtcQfyscI2o1McaHEEhxBSu6hkwigAj3r7ciSnUSy+6aT/5eT554//0UVFzV+Feb5A8bjBhZeAm+qHxAOCKVzOjxUGCBTxgHrW5ByLgW/pvhaEz8S9CHxRLcRui9rLkGQ+r0Yrl9kAdOch1wuhEVXrs9IQmrCcT1QFyziKYHqsmirT6OCLEz891fkYhtXFE/sev9RY5k29ISFdsdg4dTbIxrd5w/r1VAEN+9FOqzkkSTtB8OZLiq5y+IgkAJ7vTOuB8wKBMfZ1jfednUQjdi3djjrpGimw1zDf1mTgWVz8NCnnzxKYGfkMPvPR2+VFbkVbcNJ8QJRC1ZWhbX807mp+O2BRQVfA/IOhI24buZjbPOouAC6dWRfhVQ1hWa6RGEMuXQ9z4Db6rFyPYKEE8CJsvtSbUhz9u52GrefTP0E+POTgfTrb5k2bCXtVbdB8x6sb/ZOVNlBLZhK3BcsbQGKatKtJSGbyzcPh4gHut0PtENmH7iqQddylA0fXReS0CknXGFUAm/fEvOq5PK6sokT+0A6vMR1K0nFIxtZNiS7PByzM0VSYsUILfKAIY2swnH2KjEsKacTw3xA7g1ET1z+siYq5nBJ/bFyJV3WI0a+lf0ca/FvhRpXUQj3KpTb/S8YWJ59OuFJT2baYitrL8KLcICR/Zy6vj9lQz/LstzlYin/7/m4sujFlvqjrdGGvxpHQ+nxGldys0JJWoMuFHTOu3xs+Ec+EzeFTUdFsj3268eBhekVg3LFsqDrSTQ3Zak619pTcHoM+vRFGfBuF19z4HXwPJBZMTP/puPb80MajiMGbHcgqq0qznlCm1IePpDYBdKiF/kEQXQU/7Lu660nb/zcO3JWQmcDtjziRsvCHacltjarKk0e2rgXQPnyBqwPiLQs7PS7f9I/8zTBD/iNgr7G210sKIQlLMNpnxnDnxD8jjo+YXt3VdOx/STZV5tHz3wjSuJmPr9QWvE+agfXkxukwtgGctvcldX0xubRR9dtDMkOnXkijeQLn2AddcPZT/HzR5uFyssDsFH4CiU1wDPd+iX3G6JMKBDYczeEhdnE8XNePfaZROfk1yPHKfAB4/9JDOzo2vbvwjK7mw/1e284s5avLwWWNO4pkEI//1hVWzpdAvdS2nnjkb6dTeVfOPy3S3RoMuQdD/kHB7FkwmYSFPduFnHf5nE6ljZ2cisbYwhK6PwbbInTgGlmJDNoazQf+smTf5hAbb7NKMtFHXgSIfX1HSqn+seOyP0ACzDOwKpc34/5J1DPJdgzie9rRUTuhTbwqZXWtfM682Uy/ndPmtA7XuapJBKQboW4Qkvw8KJHLj/b+StOFFJtAUx5K1Y1A="/>
  <p:tag name="MEKKOXMLTAGS" val="1"/>
  <p:tag name="ALREADY-CHECK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prsQcMwHG1A0zlmK2EkOrZ5M/cFg6qUkhyneQGImjbU5PA4nc5NPCTwkyJAq1oY3tVDVT6KUAzzHz6t7Q1r/P24d3P/F2ByMzzHIfW8hB8RRP7690BJKctTVlhnnYIhDS2ehL4ENegY8jEhzkBVwcXQ61DYlzD7+wfeIRouDF+Qn/piYHOv2pzKWka2lQn7SNqXOw4MrAwv+5/Ri7p+AmWivQ9q4/xHy4iI66fknPmQYAfhC6qhm3Azp8K6eTIeDN0eFPHKNO+3k8rOVJEYlideTgVYF6iDCwkwZDCVfqerGJw+EGeJHmRfXyU3dSA3BLLvBK6o85RhFGOz6qU+lwf4JcmOMebmKtD/vbSR1hhKpdo3YVkALDJt48Ie8v+W/ONE0jqOfvXpb6GBXRFhB4EnNs0FBaLDVSR5riK1ZwWagwpAHk5GJ23eNUuJUsIK8wQx70ZGEaT4SZT4GI4XuO7mNPL3uwWKntEp0JDUat0Ot9yfDxpSfLPm4DeEdfDkLlJXtUOwFsS/MjXFCQvYb75iKFhk69s4sQa+nTcYeiI1t9LRcQ+LrN2uelZYu0hdk9MukWlu20JaJXIP7SYGxBJkybh2yGDAWrw1gQsrlLKUrmltFxrk7udBxQFDzHkcT9rxD1NMOU/RUBZMm7vHYCY7MocWlQYZbA2C7pZz23volHVlsPZZGKpoiLuoxpo02F/gXmNjgty1deS6iHcvXcPrM+IOKEmSiQV6dpo0I+qm/KJHCDCvV+ajRB7ltKRkNLRzuYqBlE2Qmzu8/Jdkl3OSsoKQnfclDRAGQYvZmzott6v2DLaVXJvxX2zBL/8SSbQToZ0UADyIzPQ2KNLn3uyf132reDqvLVmr3ym/evBNmTZE+ZlYXI6YiLYcGVdlbl43zyq0I03SPTZa2TdsKff9zpKZ6WvBxeYZlLLxd4JN1BLZ7luIa1Da5QlS1ZxxCSZ2fILsnWI+9VvKuIGyTB+En9RHUODyXvfAtjtt+6gV3zP4TBYXYMRfgWue8d0qmReSXil7xAgo0dEGUjRFENUEZkmfD/2g+0o3DM05qHZGYqYsDrXSHlKXCr9SANKMGU0T9sMSsJXsqLb+nEFVzBaFSJlZwN1vulbCjEp0u1dcJ5MYET4qX/jJCE5eJjnnYACs64KL8wDphhcmt4xcuzkD/HN7mfiWlJrpvDnWi5w9ZFTmziek5AMlJYjx9ORLffp1AqK2QQb76KR3DwdqsoNPAu4Uvt2F5QGaZ30xp7HuFJgGte92ZG22iq6PunUWd5XyRt34x70jrPvT4316xRX4MWchE1RUEnSMxQpsX4Fq0uzbanYv0ABnhV2DIssp2I04hYbGEkQmCAHgMIGI9PK9NesaSGJCeSrhSfh0hLT6gI91pvnaV7oyDl7OKfre259x8J8RFNKe1g99jH6i6GtP4p+CDrqAAAydS4+dd6qspPKQL9y4iguc92PRQMAxewG/ZnAskUC1K414vjraqIdLgfJ7b60zkd0D73POQeqd+d1VPQH0Cq6A3eTIgF4L/FrIbp6ztQE5IjrzBvUL45HUZG8cz+QGfglOQ0w3oJ7xiRYGWJ0il2Wf17ifD9OU4Hf4DDpgO5GDqYZqHsMvce1AInfc4AeELtbluKJDdPZkyrfouuD4QT7HwO7sVTiDXm67hdj8E519VggFcvG2+ZOhhJ0WF31JBw6r7Q+o0VeYgGzMH+qWyK75AyGZCHtXb/xYIUt3jZsiz2v3AOLymzAHR3QgnNY33xQFHkjS44vX4BYbepaOwbmbJwdANMFfcVK8crJXwsBgYXtaGI6TgPmrKCfr8Ttm701Sof57ZATD/kx7MPnJQzNARNGdXxLCSKTlr2vJj0lRyVkYlSzdDAfEV+Js+8V11fgFX0rRD9RubpsPbndEJGBZpdgOWEObG4zY/m3Gm6++5tztGbxQCR6eh/kPuSPJdMuR1T1SkEqhzRgg2daL9yxFbTNshYC2RGrCct8egfV6hBuB5i0w6aCI7hIv0kwA7myeHSPf7v9Kva6BVGCtRlCDAhML/er2ISFQe4NlA9FQyYKNGWH5zNK4UkUB1ubX/YRYvkTX3flVMzLdNlU2Bsg/+T4UzH5vY/TV54dvFoYMBxo9eemAwzXlipXI4iWHxia5JEqDiy/K2S9S2px30JT0ecrK+yKnNWUJ8VLdUe3EW+k4oag3WLCEmVxwvEL+82vwBB7wB1elq3aKF7lMOEdoqQ4opB8RamxViDglZvZ8CjZNLcD160aAy/GuYgMrcv8N0Bequ7139KPbZXn6ZqR0KZUIPuXWjP5Qeci/pePluiB1lWhHyNQ/N/SnHw33S1y/4HXAsi261LtGV3HgCLF6YiMm1hyqOKaVnadxvraNKdPmOTauih26OmoGlsPifwRo6+68CqdqwkFlTfRczB0Q+FSV52DpOxjzS42V7JunClHPt/oQg7qDZpZOL7VBaYGM4OYrdPgU6GBky3bo0thYuWmCB54FKDOSfMkDY62y5Gley3yTaLxei/nlDLyTsn842I6OZoOu90XRxaJI5OV7FSxbyY0jX79XXd2gsgmuPBjyhSBe3s0rfy/VyFHwTD2ALAymNQCvQNQy4VVzskDAiAFoWvJxwugikRO+oFSQjnTnLjHPEQczHzVtpNMRxCwqj6oEj/u63ZO/uIxm2njRyCoz08LF7m6yQADfkEqzoZjfh3h6p0a1ZRFvcFdYR1eDabWVy08qJQO7xXLtmEXuxkoL6az85KnEe3l9ldIlJBbHz7lQPpdwJQbfHemGceeOpvDwQHEtuIdfIUKrEy4LDWQxYPq2p5eFzmg8LSTlWPC5cQGGN9CmjiQVut85ph6AQavzxXCygge54G4XD/9HYvIgHwc2fiTWZ44LqkzaaH778vuo8Zxmhhb3JrKoY7yXhqhKODChe/yk0THkc9ylkMoyI+ZF5sKYV1JFFaKJ6daVQcE2OKJIMMLd17mButUum8KaSP7i/2Jck1ObXuLGQCcxPq3Zz7lePcwVl/CogRFfO2uew3AbdvjUpLSFSDoeyMex/F2MKsbfTIRB8FYNBsPfOaEYXOj6N1qM0VtZqnmVKfL0h9TxdltjUKIp33X96YeLvSgJYx6FO8TXPj7x6rcI5tDwNMGXc5LJC7CMKHsdz/inqOywkFJfddHYvUW35Zi9rsea2pXFoZXUUi1rQOJKSguA1WTQ4bSmdSoi0PZ761FUAcpZtVqrI+WH+PG3hx1rTvrkSTYN8BQdd42auTHErhurtKu8D0uAsG1gX7IloHsWaDLdiWb6aQqOUpdrzljwU9VlXBVVd0mzZO8DHsalzJkMmqNNvc/dFipuf9GdXUsPMutEMjUPFSQg6rx56ZeRTkoIsZsObNrkqeU4n4Myts5CuDYhKKKouEjfij+iccDayg4rT5l4jmF1ORYqtX554/f7RsIFnDj/FlsjEgBD9uyBA/3Y+H+8nI1i7VATwQtZOg2PuGUVVLol0qKdZ5Q92QaGuBPt2X1QyG8+qtUZsO7wHX0uwpdVdC+1lNP3dIRyM/wHqMNLkTpyul9cAE3sao94XOml3bXg20VxWiEo842Lx/ViNwpIS1yDlitiXcxzZC0tJ0of5pTcRWfje71W+otnP93+j+YyVs/gnMp00BYCX7jY0tdkc6LhV4Y/0Hx0mHn9jnDUgC/lQkyA3V5gSvtJ3Nuz3rAjHOrovppGH5Nl5ihakvDJi8IpZCqG73i/XgKbo5oFarOpvtuP+fheY8rVuhSzzl7RJvKFejeAxLxwOKnzByJB9EeuOu19J32bjnooDCSUMyxEODz8KhX03j/BAV0ud4Fl7prP0X2zWlKImJMxkkvXNkBDKA8MDj9eXaV9rRJr43nwGVQhWubTWbfIiLU6pUfTb/mwhQmxAZURfXBa5UvorYI94KvKRPm7lHwfaqyoq9TIKxpItm4fFlg/3W/dJxPFsYVr7pJK6KFv+zEz1if/HBCaWF6VtUGgu1a9Ox+j56IX3V4ZhL3vF702yf8l/BE8VPOJBeHRzNWu+LksrwbQHuFU3PA9Y2rEHnOeMx4TBVqAEiItRqpcIzb6Ep0XpXrP/xkKeP2VIcVdidJ4GNvXMpuo7V2FoVjkW6ifTsNDwb1w8s/9wOi3Hn5+v7YI3ZXcKGikopSgLYE0Vbk5s9cFN8M7di39yzmzgbsyHpdtjqEnk8Q08qR+5NhxnfsPGxw3Jk13b8ZwBjHjve6b+MOC4r9ZiVfePE83JdRcms6NpqDxsdtEf+LWQkElZFJ1/UUOwgVvf7H5pu2iK0vkI4sKfh+E8GUA3aPFhmhSgbUum4LVcMdV+4OIas0eneiowBl/54X0y5oX7gbtYlYAr9uLb0khXVE1XhGIPXoEqHxnJ1GxKvtv7jlx7/6CcGRvsO1CVp/cpZiFVRwP1naMlVOOEF+G2a2vYzEu9f4coC+6/7gjW+ZhkW5EglHy3pCRkuJrZnWVEZQ+8HYtcXQtSosowEmfCNiJRrKDaSzSpNWC2Fi55dXHVeBMyqlLlL1ZH6hI2LpuCFavCmCqre11JOAIlL61n78U6ntTQvPI/5s1IUR1ZVA2Hi3VM9vdWaeUN1vkJp0XE7vRo1HZtbm0RtKOY6tcYjv8PoIIfcbzlXFgRgVzTJmiKM07EqiLZ6yzNio75jxhk1+T+GL2lSlEQD8lk/MAxybm+/bHa8u/gL+SJucvlOOuf+GEYO2oI60Bg6ZvQycOhEND/6g6EDVL9aNn7pHZw0LNKjigzDrlPT9rsVLJmV/rNhIKCHyoeVBGxmQr1nkoPbb0Eq3mv5UIa562FhjHLgrzI44ieJFPNdaj7bd7UlMP9xTqbMPtHx0mvcKMa9N8eM2AWqq704d0Xa8V+BfoSGHlwGLAMbC3eUKxfwhjj9lmVXbZgAZMvFxFDCaSf51PYCRE2Rt75R1yhfDnNEHAy/TjQtTroriyFWzeuCErsiu1uFwguve1L0ANJnGu4gLzToM3RwgKi6lDmfCB64uzAOw09Q0uND4Tmg12Dgy04AnZnvgFaKWjXz475QHU8XWn1g/01ZJ/PGZMfuR7d/EhOJ2xX7aewn53X8iC0mgL9JTMAj0Sf+4C8RoBU4o9t8+3za1C/iD2NDLJCfnfsS3w/r7fbJxX/KAJzxHqhZa+cTGialRiTk7rbXkIrHPLU9hgTWqiJ6EtVX0c2DlncIeXdNctjaEoKLLdUgW5ITYqvXOFSXWzV2McKcOtycM0XjLsIk3FXOl126O9SRc3vWlg3tFiZwm+lMo3LtDpPWKJO8K5rXFVuZO7Ilmqgwhae1Xk6tcygW20dGOgyBEOh4alC+gMX5Ft+udhgQsr+dC4wr2J/5kCTRht21WRFmLDzws94cGjca3Kg3Tzv9J66bS/kYjWkMeej2HsN4b+a1Evp+bfsatrCsWw4rXmlKH2OJgnjKMysFFAojKTWp7aYwKQwyXDyZ+CFjYVIobGHwQXxhHeDw7BvUa5clSI8im7Sx0y+nva9sqmdjURVs79++eeuVf4rQXVMr2uZu0ZThrTh9OIXTasHkEnYUTpKjWCSoehVoLwuYGQPGjK3KNgPTKA7YFiIacz7K6kKfoIghsjic5oxMtiolTulNkcAP2ECsNvAWnfb1AJc01Fi8IRG/YV9y9RJVD+tnJwdP5QuctO+rJxOz7iuPm/l6/WXXVlMrf68FurBGtEjXOLTvbbFJVvgIjWwTKZVWI6nOEHnZxTW+syVvXho/nTnFlM+Qd9xbG06oa6Nhut6nQFzHQHhzn2X8BOuWFHw71WHijurckuHRSpPCcrWQBrIe1O7kBB2j2moRg9cU9HGMpxvrMe3rYuBrxqfatRj0CwWjEC/p1ERh6Wo8zSLmZPx4qHYtHUh/VB+KuF1lfqqYa2Jpl2erRrR1vi8+/cSX8jkyWxoh2e7xo51t3pVv6ohfTpvZV2zQl2J0B8D0aipei57XYXpjWjApuqmALAaBx9C1qeSMRz7UA2YhdFXDLjTJ7Jn/HlhFqybp+ndTlI1pL4eMPFieNeptlktTBRVVPQ1GNwTBlL/Yf+V2+ptMUaBhxWxZlNe0E5+RuCG39vRdPj8qyXc93bhjoTLef9793BV9XUVqMW9/Oe1W/AyeYS3PIvUt0UG/cgTuI0LEti5XKaaMIQl9VAle4Po/QfsjPg2+D2r/qkcpv32dYkm5qsLtFIT+uk3hxi3JObC44XR4qNqFrqnkMpPbdRntHY1/WDpRBmLprqz5qVyd0iK1lcCmHJWpTCfjiEIY37TNtYGaoThNJXyPLyK+/Iz+mmk2EutzxT+nYkTqLlw6Oov0VVnSE+AMlNoaIT2DHEwl7ALifcrgL+6xCjrKMYYj8Z63iwyP72egmr1xoOzIBesgSTrWVSaL4z2YK5ndjOyv4zHNorgyDaS9lxgm8H6MRkLoCjiZ6isXQ5TGwG3oDlTqC/M7OagH4WVLjxC5XVtWNGLW5pIh8mI1hpVGErXcs/VpCgDSy5e0fFvkRO4kUxnhBgQyoIYLfJ/BfsC/OJRuGAONjAix437GsTx0nK88gChxTwDvM2JbCCcRWHVwEhJ8IZmkgFdndU28HLix5KzVcNc/p+CCDOg8WW/ywa/bG9wnfDaZZNCtfNbjAa0yYNcqv/+KBz0WohHF0KKVnFb2k3Ayx/hIphfK+A1TtMBQRHQbn7rh7alCwM4w0xgkKaJwOMI9s0MYiM7aTNhtC/QaFjJm1mNDXHGLgweFJhN4MO/i4d4CRDiGmg9qXWndL0Lvi8gVzEBzfAeK94OiGqe4CnF0UasxpH7nSVOqgzVJ1PMebT6kMUB6W7A3Ce40iY+ZFaMatU3OBe9kxx+CqzEXnT3q0ZCO7q9qoz/L7CMGoDbgtB+O7vd9975V3tkcuNkuoSCoMzYm/gwz30TNHY92yR3foeuDsP9B6eaDGa+gwKdjXtHT6nhx+9MTQH0nnm6Un1S1ed8mTtneSac6aC39jRu7q3SeomxSKPYFWkKwdwOZsP1igHeMwTCspZ6hCfVshewb0319uGx6gdpWkhm+hGpmZbJRapLmYvjnTfxPPhK7LBEXhJTq1lH11bmnuSolsEqiL2rpWc1+izdHcF62n2slCaXGVRRAQba+7clMSK1z9RJQpXwNBdfgL7UgPEmDmM8gWY0KvU3PyOTlDN9LhMgOht6NAa8EVW7zZXZ05T1vS6dJCtW+21RGXP1c/BW4VlOfc+ZW6fVzAI2YEjLSoCcSWJFiRpfzux71Lj1dvYzY/4IV/7Y1Ryc+aCUOEKikLws6LKh8wP9/Sqkp4AJlQhwY7twiP0wgqWubS87FRmWrDsdwyyBrDpSPcfcrpD9Ehv2CqkAjUyxNj7VnlaaOUhnw2Nvst9c9tmxaZz6lvScXy0McP7nwuHJQ90NP5ANFQCA18aDJuPrjYKop2sZpN8XYeV8ox6ybGUQNDBhkTGwioCo4+uOsDncSlSoxFmbSfO+p9nw8fLJ5XuE95b3w2B5am1D3HGG8ergbIrZpfO5KVNljocsgM2P77OaP9wbO4b76aqAxsptc4Qcbnnf2mO0QhOnG2I4NK2JLuaTPiqHCNHKAqrdeOPcJ0U0Of8YWrEtkxxjRwR6ld5vbo0abGOq7JP4f304SJCG2pcaTMA0B7fFKr0m6O2FsbFy3lP90EWdAzyq/8DsuG/yowWoraQvqT7+RAZp9fEtWlq0lw7r8QtEDq2bDRrJtBgoUGficvmY5r8mbaZOBow5t1uNRqXUYb2tBzNPtCCNoVHtoTgfYoQyNYBiuUU2g78DACvxZgsL4Ndlee7hxE0kl7hJGP8LBgF/JD/+l4+Pb/ug63rNfFm5XtttQO6XOeJtQhkbrwpEpuRgXY7xgLivAFVasgpw/ms/U+00pchJXeGsBmERcVe31MWjhHlLGYmZk8Kg475W8NUWM0N5iMxl+Jm3E7D1hUVPsFNGBg5+SOEEMQko491/ymqxYGWYPFRaIetnmWsdRgMNe1iHp+uJjgfepoxpdXHM1Qrg5ysqCQE1Ge+gjVhiZltfx3NaXM5sOgIx5WalJxWROc23D9DbboGHp50LyrPtciXIki1OIXZG/YEAgGR7SV58hA8XMMkiFgDmo9ULNL5/4UNK9MgbonxsS5hu4D7w/u4kSpnraMgVK0g7M8YjxrxYIc9CAKoDwhnYzL8YU+VBGWXya97i1byVQSHr7KJR8DL6gygicTEYOsBspAruOJXniqKio0218WMd8Km5fvNqCwcIlSH4b9rTIKg0cVBCesZ8Dt0kYXKYki88GspLQCafSbCGQLjCtG91AL+Aehfr4bxWCGLn5B1859bziG/W6Dkj1TrlLoOxCiUDP1Cajlw174Ji4PG9jQOB4sRn7jUb3aegBIlePd38ltzEoGqMXoJCxZNhCF2M+Hz0kcuITgz9DtsitNirbAMH2EcyyOHPKng0E6emP/+HG6lWbxwTupWPvxI9j4Vz1pmHfW2asIL0NqLLMKIRQLrJwWFbo/vaQDkfjBsQBWQSefG4tTpbtHE7XqIIFCS79RDauTzMTVGTarm+XCN7eVRJ0BGeTDy0SB1xBkIljax6+QBZWe6IdjnSyl8H5rsQtEtcSZAplv6hYimassnazH1S1LoZbAx3XqBCjJ/9t1RrP8GB1JdlaQVZlQcawsqtcj2bp2YKIKB5g45QfPwwm4w/Vavdy3QBV/qbEuHTyrtPjzuT2D3E3TM4IcbSwioqn4AyCrvYpkzG2Nq2UmAOjabqxZ/6Ki+aWUwWtvkY/GhJLUXoz/v2OSzJKXNU9MfjgN4C7CJV4+wn4K7Jz8QhGzyk6Ugd2ywCszkgKHRk5LVJEDhZGLETT9IoIMHIShBAnChNjSY7BlP8ZIdKIy+1lKit/kaJ174bK+0ETOIApsteIEhNj0EvV55LQLBW3NJ6irDeQJ8QzIkZ/vQtMu9kfddhajb90m0ddHGSE+KUdzD51y+ABkVzxbjJ6EbFH5+8w5Yg6RIliBFa1cmrI6op8smNjfiKPjX+VivFdAWzzkR4QyN7Arn4PkJM7t5SoeV1IWPRHBhrQrfN4MsYyHDCCQkEgKsd3Tsefq0IBybsWnFGVyuNpwjkqltD9glCqVfS93KVBiacDt6tI3wkwKvE1yckH0ozwOV05x1Yme5VmFrSUYEE/aM5voS/j9DswnvRixM7BrfZfEk1vBbZgYgzOK1cw5Vvex11eKaqEkiJI30dZVonOWbkWXPIVTPUMmFsFe9lhsBbgAYMErhkpLzIc5TaLxV8T83fvO4oZWajrWGcOHr8YfJasLyQBVERgcetgm6GrXPM3yg6f9izRJkgHuge2H0gCX/9+g5sWa/lIr8O16YWU/tVdErDbKM75yrDuoRPUh0qkCDfvJZTmrEo1G2tjcnJeVyv9Zj20FEy44/xAs0LvxO0V0yb+5cD3wldyD5NVgtIaJoQQmhEoWuyF6qhNu29TkEYfigndxA/cQIjlntdUQI/GlTMwNqYRuyoUMuDtBCQdrkroRNQimgzgnAtoC9V3SDbsxwLA4b3zBrWy0f05wfBoXetZfnIvjjksh2LzIvmufMbsBH7Jy+RL9YFxmPJjaQdhIHE4b4vktoVjS1NY/UVt3XyMAzNC9PVXWIGD0YV62bOIVktAUwpxL0EMGXx1FXjZBTaddsC/mzTyTZ+mvelhQkazdaEJk3MeiIo4YL9spP8ELehVixCOCJGR91J5K3ISz+/6iSmvieZBqY4vthMLToYfiI+B553ZCgMwAdbDAtghT+h7kqIaPIr+MtfPI63pIjHZvIfqhhHQ2nqE0VU+U8cc04MVRZ2g3wDY1/IvLkfUMHRj/ZEZDgmSDSE+VI5dknfEFqSjpyoZw0OqHKMwVzGadzcDGE8V3pLzynt/+gu0Gv+0+cDQ3cmMh7XP0c/xq15Lnt3Op7oT8FsqsGlGHHQUrskyESSYTz/0ehoLigU+7vtANRC7iMn5PYkjJDh2JnsOyc1VsAvTci163uSCxVJsxfMku0E6oFs/5EbFJ4xYysgps7q88uQaXdfWSNkZzMH6WK5T/0ifyOtEI2nQeLKPhhyKnm/3wAG3fErVgAsupuJq2wkccwCddVPpMYaL6sik0kUgn0GTtIK7ye9JV+Mjse3W/uzqQLQiKX4JdmbZWQ8TfgkfVQ3puNlbIP/q+MOxz1PFgtJs45BkGXWp4UG8W2h0tVIy175ksEpevl0N4V3n0Ugp76RvLluEC6CwYrnGWqEOGoK1gaSrKSIX+HERHGtvBhhqRxddutL1Ky4hD1W2mEduVziY0u3Y88XBcs33LVTEqCtpndHzvW43gcEJgLFzaSC/6rnJjj8RIvQJ+JWHd70Wub5Mxcp49juNU2Y06qqL6ycU5yKbcMK/Dg5qiwYwdKYXr8eGMCnPqvO7rT+cPCLGWW3BrPUCF6FH8D5uadluRWAt9E+UK1m5ybiGuvfh8wwCtm+w4gRNFYHhCM7okP3UlhTdkIWDrZ0HMR0gwZ+1AVbFUel5y6K02BZ9BjBxEwn5382WgUWkBt4vpIqMOX4ivILHa7gB5gm0MHdLPbDGYPgpozZCXQBH9Jkeol28KDem33d0lyroX0cbASl2ZEXAv9EyIVlIj+HTrB6uTAzvgJ4sbVzXpNSghKvSd8bo9xEXa3NCgtt3+YY30RmcGYLO63MO9Px10vTw+FFii/LNnCid0fbuvz7dEY96H/bgKIpHCwdlBqtmR3gcoQWTUoRoiCdx+selZ/y4J2PEr67IxxcYPwTQjS1vOmr8wad8E9GdRVmdURAkLjTO8QG9vjjaZaYMvhyzxlutPIxg7BZBO6rY4pngkmuiOa3Z6gqYP6KerETJeTMQFmC4AexF7pEkEJs6xo3souZYP3KjeDJpHs6mnd76nAICEBaQ+lk3rXyFpfV9Y79BwQ08SrXOmtzbvgrX5C06LiPll6uKe0vconpopAIvkUfiPaNDh0+yxI69fBRVPhyV2v3nzdkDUT/owLSFnqSCH3zU55j0PCK6KzLhkmdkF6dqfP5Yj9Fg9jdW/tXLUl7oBlkB0cvjYEausQ30cAfkWaz1klzgznBPUqjbx5uZ+luD8ghNPe1HXINW2Hz6Jrjj2+GtRMRQ/apScQFNjXOxK9dBAUY5XzNL5CvYEyll9bl/+UVZCGq5Bw3tQ9/7UX5vEPIRYVhw1iRE22fR1c4JvASVRnKNGyMpW0rl/td7ZjyR4DGaTMZTfUHd8AMe/zWrdccqPCmmtPxKkCIygxmHuxf3vo6yVc1UXyEpVW72kAKyh6fwmmxuGqWWo/yrV/28X9ncpwcUmewTXQmwYL9dVNklC0hGx5hJo0hbiuKi1IVzYvvjeeN5YkckEd0DJ5QuhvV3fO1VHKAICWZIbmzJ9iOYSg68CjkgHvBO3dKlBb9QPOYpE/Pd2thOmZcmvgefvGiaJ1XkaNM5KmhEtT+T6hl3rv3uw2KgYJPv0TxBTpSnAxHBwA6eudLEG8iWY+X58bOjrnKL8Od38RR7uNA2ka4UaWM2LnBPJHCSfr8D8/T/AhfbAZNPnsJ2QJ/xUeqbBRLup8KubvuOZd4lzb1fjlkjNM7UyXtFXlK0P0QOd99cn0Ey1e/exVrs+623RNxNsGNJdr3uGaAn5xaiDB2/7gLc0gVqKxBjGLhkO0HzjR3hpq63P07sfsfubzqKLgNpzL/SMp9wpbg36tp2sWX7v+ctOpuGqtHm6T0AG3oBwcZfy5SZ0Jrb0aX3q2nzRh/BpO6+gdnw6gEzaguh6OioHRLs/4AJiJ9FKeIswxMeRCM955+rfeFl4/JA1WpwCJkVzfemPXxyB86PijiBjPWbVVmX2A7vwHGqHUYtoej5a8vM1fiNlwj8/mtkLqe4vsGpW6df4u67sZ8XsBza423tK60GNLsPlsg19sCw9zRpUqmjK9Iz52jAhF5h0/+EawVecVDHoAuW5J6JMy6V1aoMhwKkAs7yKnE+NewjuuSN27z55OgRByAOo6cEsDdC+MGO6/KQ8/PWTFssJu4s2W0JvUpCTMg3naTFzj17gdGf9klNbNK/mLpxCt71F4SDS2pE/xGJL1I1a60m/7QEC2WmMy1sOXzxyg36vWtRk8L5Cz1oaRb526khu4PSK0dcdvH6az9Y4NQsEQm86zwOU+/VGjN81EaHfdk6I/XUUhD+6Uh0mkLB0wJNS0QZZ6YKBCnRltmXx6H4jXESXNaOrVaHiJ5bbE4GVmkzrUKGa9z5ULNe3xx/TW3HkN+gZpE8wBQRhuXJNVrYbc+DfICNAJE2fd233n91q3qK5GnqBQkXOm3jMgOuRVKMPiPyCPqUKEQ8mYNR81UTPVGn+Mtbp6qZJcp+rZD5k5Qzv1k9AbAen4CrMxCSEyht/kKhxn6ieFrHFuaG+IEZqOrB8lNAqCjnNTDok2hv+fBKE5fdyyuWt7G63Dar2IN0U+0OvCi2vCSzmV9blVmEBrHfQj7+tx/FyBf+Q4OJlQIlNYnqKkpIWYvzO3BrHxKmPnBtD2vqe6Xtefn+QXfj51MOZvvrRL8Ot/SyjQjbLvS+7KVIT/7pRU810+V5ojyus9BM6UP9S1OHNpiCnPAVLQg9GbcMNQVN6vdtxEPUIbq+nNcmkaXvTzWWoGCI1U1VVh/B785vbARrkyf77PCGwYO9z8t8HjIyIzmhAxgB45eTRTFEGSEhLG2daH4UYfkIZWipERuCorF6WLdgqkmfuPWWvWSCd/OX5OwjVe+gihT0+ay8y0Qy8/n9rrJpTfz1b6pPhWiv9A1VL4ZCxAxn5g5mEMUltlibrh50iJ6NXrJdsCCWG1jVHppuTC7LWMNUm1UGYeA9AR6o5abNHIvaKJeHWy7U8tWo2COW27Ha5dKD5AyG2/x3y3b4JYvDE9rpyuMTJLZx3aas1NcWn1BuFMwF59NgO1HhGygO0ToW+F4Bz7nvVxvFG2QViU8S03RCAWHEJdfI6ynU4wrW3heTGss4iaL3e66crCIdo/oqEpKlwR0CqiDiAzGsbPEVNP475b3VPntsFxf0gDXDDgCK72YGJBWMUL8oL+Imh31rWT/tpG4IAPNc4sk3pbYNvflawgMKxkWs5divELqDKmw5q5gH6DKDyrqCfGyn+fwn59lyVufy+LeD94FBKTwL6nrYSpezPKoY2QJ41W5S108y3PBtSyVV7VJAOyPIr0W5f9NSG2WDLVfPF8ggHNt40baqpFSGnBJIkJy90LRQv46rzRnHWx0vNzj4j0drK3ymjwZcIbVg+uPOPQRKgE6IhqpHCRU6XvGyj01vBOHHNsn/+3BBPlhctqqPZQoTxiAUtITDofPATDnuFhTxFZNNKOeSPlSopdHj+bp3ovHLSbk9Veq0HFjWUnl6zysvIel4LLR09B4h3x2PK0dA2BcOYpQ4tChy/rXkGpl9yUdoI0y7lZAu4qxk2yxHtlXA5mQrjhlg28C6kC3aDMyhpZzivfD13LJdx4m+h/zmsg0gzauH2iahkICNQjA51v/cc4zLGb4Ww9A6DAeTUH+ps/rrQjoAPpXALkkrCoj+yoEj2wz/LOif9Vr69HAZH/gh2PgV5PwDmsAt6n6T31d/lT4HCCBboQAHnNg/Gc3HoXLi+BWdw4nU9ed5Z5iZW7Q91rUVG2v7V3nHAJWwC17U1ljNTmIdBx/GtHpYHmVftx4Mj588b1Y+XBFzjdb6U749/UgFNIwwGWd+hes2yO2zLk3Ur7xaRKNHyRQELDyVwZIabZnGf1sObq00kp1GKGv3Zq9i/ksA3NEdHK1ntqzZ0uM2RtwN31OURd58Yraqwwo3x+4IVbJEwbIDrSvvsxpRUYu7bEtCbONwADyMVJrgjWxQToJZOLdPH04a/sxNgTW4oo7mwNrZtkxAdZc5Iji894CsA3QJlfdViVQcI4WTiYkbRbmkwriRywMbdCAP0QQJHaIqCgVz/iM1iXXFf473rIwvRiZ88qHkTHbQbPa1v1CFA2nayQiFlggcVPCP4chIViGRo+j1NVq/7QxPVg31Bx50CBXfvrMHk7I9myIYmQQ5VpAgkaqmZq1CE/OcF0sFPDIvIbFiAcK9tD8dMPOj736/Z0nAV4liLUkCdVa0WnwwqmLDl4geHyf0atNXn76nJVemSMwQpIr5N2SZP+o6TLvTnXG4wNvj6P/G+h6DqHkSC0qvOFFY0a9rArhpzI3N82auWiMgczZ3yjkLFYIjRQRsZj5wl0MduV7SUQzQdL833HxNHiFN5tPocXrKxFmGSVvXqiJIRpcf4FwDTInEUHRaOwOwjrgn0v+5jOxm3wWNaeEsYKhG3lM/fmVVzKLBYVUMDQ11SnWGoGqbreDQj75kCytrU6KAN1Z2wy6Qod5Fm6mvzFGgjtPU8SqMttf6zud8zAwEO1WI4DH59G2orXY5NEp5BVXkf0JT+a3Ieb1EFKo7yVQmg9k71qurxownRL1AvUAY8/GAuY6ohJhoJYVZsguwG+yrtXkwyKfKLlFGwYvdZaQvueZIU70CrkZYB18TfkI5IEzZfNo9uhU9f/2UIvJGwnQteNa29jrce+5l6WYxczNjQLqgpRnZxKM1pObVzGHbWr2MLIgrv2UsjvPAijx+kgeksNn7doKCcHqXVkvHVoZ3zR+/mNeo4XekUw3WFfC4CRIWBGZg/UQ7BGl+VDuROYeyWwhX9p3+5Q6Ckvq0K4lXLxBNQ+7K2X9YvX6YJ3yKT2DwEGhGMs3aT/F/9CIxm2p2ZKAeawrsmhG41BQU1rUk6AwYVQ0to5O1AbhdjtBAowTjxxagB3b17rSA5S49ZV1HDbDQV5Fd+Kqs5wU7pkNC3rmyiL7+za/JmDheeeLf5uWz/ILlIhSVwp5wutxSFsQ9QHS4eSWtqhL5a7TsAZy51OArOn+SFQJBWCUse7KEn5OAaEpKoVLXF0YLyVs10IDZ1wcSsaW9cdIFPdyG0dxzPmj7J8jcr2qfp6En7mw2I7a/ysLfvVhwuIypoT2hfR9DtjDS5n46pKLv+XWnqqHWr00dTQhEAEHOSo3rBtAWkYWza/HfkW4kdiDgGTgqsLm1ChLBj3N4JBAW3NIM8HBQH3ormYonqWtweHxjA5j3XOWQMKzDNLXvzNih9fHqnZcO3ZpOC4A5XtMq2uQ1NDoXwi3/6MDezmU2nE+y0uFVhOdaDcbLkMW595i1qSlMlQgCmNfkralXuLmPMFlJOt4f9iiiTd7/LVcbUjAqXzdPLnnZWxle7NQeYk2sFYegGUtjAQc6Vo20PtDs4V8PPj+yHJln5+gPsxISolo2BOWdlph0a/OnswtqoFrmDHGGvZe4CgbksCZkLOH9QT1VfhJXOqb5svSaI1GiIqCD4r4GKe4rZqvv30Mx/wevuAslU8NjgAw0sqBqatiCg6GfA1CFZNGo35SMRbo8cKZQCPU0lDf+xURuhbxhr3oIUNLJvgNStjYp8IFYzPgGJUSoE+obyad1U6DBnQxtXPJjb2u4w5jl3pCWAQfKgVZ1IlNrfjrWNEhaYDXffIdgkvdTOS9n4IxlPEyeutmXeyXNCOA6dby19PwAqScqLaZGCRYlzzU161rPodICykwAWsfa3TIFEF0sX5a2wdAhR01pHsO3Zp9/8nIskq5ofIpUgd5lXFANmPbk+68wJ48b4D/wEhoo+N+1OF+rkvw9aCGPvoKVhUAkyMX1nInPwlsAgkmGT4cZRWZ2rVXPvYUo+fp+HHfpYcxJK9b5KtY8MRaNTUtLLZyF3BLw9h0+pHGbpwK5MQBEvKPya94NghHHamb/47AL+X/IWUvU3oojk+JRCDWyvlXz/gqm7Cq1B+KmD2Sz/rk1ymJ6kxb/CUWlZaq95Xl1bh1vrW1cTRe4o2N8KbepqyPpMwZ0cdJB4/IAYTArKvEhk9ZtC2DpmUW++LLQHzH9U6Ye+mBJMIikcR26A8Ie+hLANS8dZ/yy2h4A8ivJPzX1BFlYA7VW8BsdrE5hdsces/SVzHk25ZpBgcjOOJFeXLXYx64Eivph3cQTCAcERDrPER0TsMya0KUUue0ISJ6+NHUYXqWlbe7RBtYqN5l0YndBQmYgUHfHc1BdLCHkECKVFD34XNieD9mv08UR+5e6TcYHwREg3wXs5CZHwMF6zBQJszLssDvV5JeUWGV3k/isJA226/9GGifHPbhr2Qmj7SxdS9o3sdaay/4rXDi66FRB/DCTbKcxEYA9CY9F6xpGlAakHyx1RBmh63koLonS+BdJIBiLqaRF3s6TnIFfSVWQHst30WmAirEIfFTbfCNg05JvwT5m0k7qZO/V72igGa2mmsk7bkKOA7aNhB55hPSnCnQVKU6CXTUSi85a1ExTCHTybTdwYqikjR9iH7QUmL4/PpPPOfwO888789qgmXWEiU4w9sxsjL1aq6KPihWZXwITtdLfU8RY+4G+zbUzZWWf3ir/qDXTPGTcHQoAkZyzs+V/2UIv53ESldsTj3papZt1Bl5q0lELxQOqDNqg4TpSKH+P1JE1cGqxYfei1BfKq0NeS1VNclJrE05PoRo+uu/xmrOWHGUJu+tW74GS7ZhzHr0TeLXGZ7giEygGC8fRr4gMspDFze1bpNCmXHhZQgaGZx7YgCJT5qEW6uEkiQrJF9UImz4IJlYXzb/0pcRUoDOBEgFKNdrZWCmmBu3jzeqpfriv9BikZehSaYTKxhXwT87rNmbqCygn1OQTTXfr/6uPXpWE22ewdFyvCWp6osQI5TvsQhb3lQoelxat2Dpumok+qVgqMlEbTf+KErQZLhcKdXhCV2nV/uTGlEl8FTUtb/HmnIdAsm9LG/kJgzXfWCyk0d0YTsLPku2lRwystjeOAhBLqdbUp0EoDymHq9z8Of8ZrYZ3kGwWZFEugx6Z4BQdGX+5j2DCtBnMl8h57xFnuFECnzlkBfj4KBCloU4UPcuXormvLOMVo7hn0VV3AXJfspCKLX2byvuchWp0tCkyVdVDZtvCVbFIAIM1noJ8hRRWRqoj2+Or1fLJgf8K5nQo43LJVA0rfRGfbaHYavpM4ywLQsDddHeSUF/81ACLvW/LQ60KMBRAAM9AA4i7j/7HtK88g/inyFJNvzA3tH2Fj0TLCN2XuSWv9kad7OicL6C9tHrSWZjnBnBaB7q7EHU1DM3xemFnMuKGGP7WWfC10RW3ARDLtroGEBjPdrDSgssFuFJ5of/ohKnwMw09dBQd56b2CrniJif86gKQxuJ+RPvrLsxwNdm57re+I+CJPgr8qz37wkiioewmoBlBo6CkwWooBpIo3LwE/COqef958+W744xGwFBNdVtAAnClkE7kGg5WBscRFWKPQ8cEFHA/QhVd8rjpqLssRsfPPyOKGSAW0kTshJobfdTRG1o9DpPS4f/briGdPxSTdLPN8dneA3XheIh0IZ5AmS8JRB2FGg3zGA+1NqMpdRX9cSOlGwiO+rCDBEWi7ICDGFM0ZwCduoq5bzZ9dg3IWpbeZNQIsvcE7F9TjdjsAUilro5HQkHBW0vqAWrD7TCULPkEM+71/LfnKgU5BLCajth9xiywCcIslqXjGkdLUW6exSayP3Q3Wdcpj3VARYrL216PDvbySSAKoms99mp0GPO7LpOlzzk75bbIRoK4pHuUyzFkwrJn1r5JTTaraJNk7HZXPxOwFe5uOsLgZk/SLLRf9TLcQmz3Zmydtz6S6ptOkWQNV3jUDujM2nDb4LAKO/9W3O4TrAwkxLguiuMsJGckQnjYrG7pVSEPHjgRGKgi7O6uJnlRfdHS+ztOCW7QvCx6YDXo5CqhFJG2TwvTkuEPzmD7G6G76UJLdncg0C+EEDJHTbRcHEpd471SVPvT+7Ls3cM+ZZhlcucu7HfqMccqZzkYUwcv8Rs6nHJrOm8X50naN0BRgBwwpQrynkNivRWPxDeqKiih53MrisWSYGzf/dFM0/mKtpiGkuojUS/upb/s7k6Ifa6WqnhevJjLLyb2RdK8bntw5cdXn57A6pD7d1qdK+GtC0QaGrs93isNCRNjTglrSiHdKxkkVjkHhds/O3HnDHoAwyRa7fYFUvjRiArKLn1XAqBaA2CRqBanwpXR9PDUVjsTl5Zt+z8n4Zx0Pe3PGgC7VXzQVIXowyQ56SDe1m6B4cKnnclFnfcw/rt3U257fQipg5GQBmQtYpfCjZX2lpZGOieEwoKZCLO3ui+qnIQfZMngfevSwvqgAg0CoXvd8HqVnbLvYo7VpJBfZ3iRMnU+gKj/aotwlC5knQ0RtxSX7LQUzwkf+TlZiDmmx6RX993idwLZpFyRk6ZWAwThGkNEAfLCFw8R5LncHVxja7458szm0KAk+fVlVdD1YMFPu1ZwNFHTFZfcDEg+HAkWA80bnlOuDjRI8UqpiTMB1Arf5gw01/qVCW+xAfH3ZWnP7zQRJgsNv00SxIpNSAcT4ZP/HXppAaYrzebrg1gerGW6KFOhSo4HAq/pTC2ccbbUAUyquQ6Q6aw71OmVClH54URubpfSiGxV15q7IRvfL2wsM5+H4Exoao/XxRsXvVRiF38CNS6b9jaw66az6K5Wuv6WFfU5yPLqNmxeZu7tSM9h1LI3SNbN12C8DqdEucwqd0lSspNTxPsIYJnvEOciuGI+aPm7ATq07kB7/c9AZ+hbAXqT9b5imaM8WIU5TFJaI94Zb8clamWtXcdQICZE72k72FEbgDjdFvOOUg5PTPChNyY0ZxftCAiVtHpZC8WhhNWPhwxzTyMWN/SOTm4pDyEpVqmBG1mURLWoALXeUMKAtX4HYLJu6VZsdn6rk4l/oV9KtysJGdHshV0kplmakCFCbyCjsnqh2e7RTkJMReGJoYqyJ2ueYmk4rLzvwUtBLHBYwrAsjXW9qAh1jrUgmufXAQ92t3bNJZbn4GUHz36x2ui7wk4KdehTWL+0cJMGuTdOkSt/vPSb37dAxcJmSJTgNrvMAos6Py4hO2lWpdVOF64VftZZ0iEmyDl/wIhsjJnaCmLv+CorryINAUa+Vo6QCKwAf9+n1KqXs8cnNQOOkoDShWp9Oswa+R4WPU1DClB2/YjQ0tUws/PnNupYfbtcB04WTPL9PMTW9R9OVzi/s7BMZz3rLnzcGWjr4B6Ld0+xloOwqAwkSiag5nDX2rBij+feFz3Evz6qQb/0DA5c9AyfEc25ejkLWkNFb6qn/QAXoTMt0cxeCzS+ssRcwm2AwQ/NTMkq2v81cu3S7kKc2nLwX8CO16OmkFH/Qc9o4U6C+pexqIgCpHdWevcEeqKVsIN7NkMCDuqTHun+jZCW6ZwgztI75Kx38jwBiPP/LcUbASkyQKX5FHkhI5nPZztQK0Cti9bfyUChbCzw+Ts66sk1exjSNt883zuVIPB9bVncPDqbP1/RGkG4M39n+qY35Mo3d1xihm1HpT1RlyFM3LrxUp9EcZlUqCiGfVGC9ZHEByRMRK7FGBfNplTd97T4I/2wFd2Zg7RP8LKp6YNaR8p/EPCsLEjfWBoqorQX/p9tu9N1caaMP3WcsYExwU3kST8jqZCt+mIFaQ/FecSAU/HEgkxxlOBg0R+PeOd4dU5DyCXtwcEmHCiDIH/ItKADDVBphJCU8cf1orFqNu3hNNmv5fU0e42Uf8K+rFVvZ5SxgAfztn4miy/9knwc3RV0oGR7UPcsyLFiS+k+uk9hdZVwWtY1OhGakPYZzxl698YXpR/aZC2pCVrtbfK7cLUTf5/jM/nlKRY8noxkhX2ZwX3IPU5J2yiQrb6ggmbl1+bA3ntZZXBuXRo2rKomkMTIFwfV25oJYn8+q2dbZ1iHyQ5Rmu59mkCPkxP3PGtrwbJC2GoOdEOHcEX8eGgvEt/ctf4j3NjnxuPl3ZP8SWbZehyaheMf5LwQTu1P29BHiM6BUulMFvKcpiWcUr1fPdG/UfHwiQN7JXoQka0npOVuAKNFY74xkFuNMXeBjdbm2FNPXdpLrqID15/kdhAI2YcOnxerdgq1YWLWuH2asRG0IXekuxOSFckbmP3KxmEfA7U8EEh4n1a+436jETFioxkb/sGfC4dtC9+Y1BNYsziFR2Jq33C26HHTSCAPcX6aQXX34pEh6NyvFMrd+GhwB5299ht1Wo9VP2/MrG0BgAiaJ2bNacIYDgAIEIJUr9Gz/M84EOIYgNw8N6IpCIEfVVB+dZkNbioGUb8ffdv5Z40rcHXXvNHjVLDMTkER3wLsJTQ67qF1UxrQo+lvAqB6dvVbHJqiy3urfAzLmjCahUqTKN4PmYYfeN0FNdQHBynW3YZP6RIP+oPIaMJnnh3FCUPpwOxxuHtKXhdAtFKqqHxVtNaq8fELm1e+gTwNes2hTws16eDpHjqT3Z3tD2+dxzIUcyXUilkRuGYCdFVyIjmPSo1K/YDIRQx9duuxuobeQ7iXizdp3cVbJwKnBMMSsBqyIlcLfJYgRZH78w4ASoKqMX9KPGSLnA6jgIy9KVNH5QB6jZYNx9nY7Qm2vLYMuqmHdvvM8Wai7ENO+if2UJrLibW8cFgdLV5HfDztBzDPV2EgqFeJ+WJoACZ4xiAasxnrQKqzelydJZ0F8cVB9gqaoZpKJkflLXV4IYhWuJNWc6jpEyUAwmuesGO/zZp1njLtQrkje1OFBpJk2xOTQukSSroDORwvOsvT3MTtdktq8+Cro/oL4yubTMbOtjLaqtyBtBUjS04XAaAgWppX+ey2CHzsTHh3YYHX13T57y9SG2MpZfWIJhfLkImlVEBHG+eadjnpPKwLLRE02REj15JpTI8tUhRKrszJ+HjGj8rBeXr+m0r+9PIOoR80i7k7C3G7PuOWq2skwFhglao5mK16HAOIBTmUM31uGApLPZpHGsyartV8nTChdTwxqpg+mKqILFIblm3yWoGk7qP3ULGzXWdW+4lkQQCbQ70EhfmxkCM0djA78esXDTEMsgC+O2roSmzX62H/F9xkraLft5qbrW8FMUh9/t4ra1QwwZNALb7THH8sJWNhMBbxWtXKmi3WoYnHyvHawi62zW2o0pngfJX2Gx0A9ijuH61RIlEqpgWIuH9ABb9QoTmrbqSzny4lsAhPcTLfj7orRws7bz1YdE+K1K/iNrN19qtp/7l+VJtFBLsJmHLLmBP0zs5PkH5WCqRWCBp2mCrdS2IiBLKytJQlIFIBWGaBc3imOb6mPIftxBOKd3SnDS2vKM+SvEJmGuotNYiWZfY0mXB5iU+RPm3keKt9KRgUUimaYj+jmym8Hd9w8j1ICz4WErZo66hpjcPB7h2MDrACmAf3PNPiaMwavkCcpYxs/87fd/JkPWlYfKJxAa/ZxHsN8x0NTUHqJfS9ChJ1Hbp5ATYAYF5K/KwhJUqroE4E089yJ6dYX0suLImzBjDPwWKZMd9Dy114oUCpAwglyyg87EUNs4hC3Ify9PywVrYIO75T3+I4BQs+tPvip4Zfwuc3FDHUnl5WYM7Y/40de3As+YYQRhH5MBFhUlqKtkBr/Ernuh0/wtheKYUelVgwx0ADNxMtzszCGDzCXM8SJACMlB3aNLUu7W359zBIj+N4Gz2XwZfZbT6J80Nl0gwDGss8r7srGs5RHXlvSVAcAt/I2ODoTqbcyDIEsyifG5l1vdd26tEhcFxA2mx9GEopdkKDp26HIlTahOSlE4AykEEDTGlAI4Am0kyA6swjIUIHYzpZFb1CF+1pnqfjwS5K3aLyek2SEji8tnSbkPNDfFcmi8egD5lng/daY+KykCEFQqYYa9mXLo+WoQjtQkgsLZw4wQfRC/O5S76KT1ypSDcIoyEpTGIamlhwFg+bmeIQo58fmXHC4KSmbIVroTTfVHSPc2q8mB2M5EVmaqKed8J4uYXboujkDiRBDhAtQWrm1NjrVeIcKXrs2cqyGq9/UM6KdY/CyynZ/PY5g7zreQnB3w5LFxBeQ9PTrNTpR5KxzqdBYcU8uXyLOpyGgZYgQ893tTEPaG9B9oQGJd1Ep7BbGoqyUPOTssgF5Xjo7FtGUz/rBVpwT7f7S2a9RCFyatc1FfJ9bNDSHARbRGczV0m3MzD+S0gAd03xbHB5Xpx+s1CIKFsB2N7fVrpxtzL5ZPYCFWUny7SYJhQAtaKPCtT77k2ddtUM7VqiTVkLb9eBCjdWCl9HIP9FvDrNTOUpm7Bzyn/nIX+mGYY9LKvU0vVxQqS0Y0yjyxVATbymOBJj3RD7cCDPxYrWLKQSW0n8MWkd6K/3W+G7gtjdcZ77oohwvLygDeL1heyOCpFCEjwvhAm80i9jx89x7vbWZ8L0BKj7YpzA1gMxhCfh82k1FteygSYGtajVtdggI2/MU1bZG/MKLd27HKQ2HPGNu9oj7pPMZBI9GPss+javvB5W/MJpLWmtGynQ3YrHXO5Ug5uXMVuOdi4vU/ILu4kElqaFxAx5OSMy+AnG4sNogeye83AAeKNo2kkVKmP75SzCW+MfAauAT2k7TuXTJ9WJ7iQqp48A0pPcC1qxR8JM6GV6uCVCOpn8wb6RuJMhjCPv8NQeIpOvyrAk7a8Z7s6Tld129ruC402bqeH9Ze10qIyqM2iaK+K2cnIZyZ1ln5helGjWkr1ZQqumA3MxgQPAJYeeYchGPJ94+mhLvrFLKFbQKcScEfLgNkG7WfjSJbCJwF4IVwqngMdlGrtbUR5mKHvO6tjUvFZ1odvaZsdbJnUjJAkq7e3lWZYN6Ofx6a+SKhAfUdEtnkSHKkklZEyt/tbhUFzy4Y0mtqjFBKwh1rUQtfIAl16Bhs0YEYEW9lc9Bx9xp3kAGwVgfFw0ptc2GWL2oaCbKj18P8IqtIq0VYIUPy8zXgEGy2RpHcw9ge9wovcZezEddEYmfdEgnZwEVHgQ6cMxsRnFq/tZjxna9naJCC3mwgnSnNWl3eP6wId/s5L/UA0CVmRO9Ny9DtYv9fOpFLPNEz2421nugP/pJSfHzuAKqU4sHUzTm5IbthGBbH1rkvIvzwhZZCCRGc5c3xPYUiup6rvx1j+c5pXIhiDMHYjhrGs7Iqc6ukArRPgHcDKikUD3bi2Xnm+ofcW+AYr8yrC/wil8m8ouo9CptY5zQSPUF7ugy12FDnIBMsGMk3t0mVE9VsqxxmB/Ycjg0+AzWsDWN7/DeRxZlpos/+s2bvFv5z547JasCjBUPKg7g1ZZQEb9SDJQ/hLFChLIQZSwI+t5Fb6LU2W5GWMmYjkZ8bvSph+uQMIxBgXyKeEYEihr6ZZQK9bIy4xkSp70NfNDPQ/jQqfVqQAaK5n2p2HCCfo8HpY+xK7iWH/NdPh/ivLclOJ26eVr4MI4owFKT53i3y2zpp4gkH9cyF6Kkr9f2JRthgz3BHi4Xfhp48h4Iuo3VevjP1ma0P6BsKwOAP+pbKANX6xglAXEb2k7z/xWrLQkD8sn4DUbnHVxO6BDbIoP/qL5LU1ml35zJTEGSmq0erPRD7H2zcQ1jMZfcD3O8V4yvEjO/Lvo2uemBfcjpy8rfiGEDD542E8+dWfsy1UbiZMQrWxepkLy7hyJRLkNHkeEu/8Y0lSOdiYoEznmkXjScoGZBkMpBohvINsRjz77db5Q3m2Bd7AeMGmm05XzupDc+VuogXBpcP1MA6qsgJy7ZYRzjzBFuWIGB0A2XZ1jAUV8xqk3IWk4QZwiPYhHsftt1pExK7R8KT8HXy7WH/yDNDE2pbiQbqCskZ7lFfjEGMiiK0kBHE4NP+h9cPYrGB2ONzSNv9pLKr59KF6R9IMdGtgz+odk5yD6WnNIWSGvfBPblH3hwH4JBE0BF+p8aFW4G5UKr+OOzYWUA9+Kgcd/PKIGW94TVm5gTlrGwLHMz+oYGh88cVwZ2Y3Mo3iTSJCVJHPk3pObdhqz/QPI8q2sx6vKAnZsawkwXMDnWlKvvSgsm11NeGfBWtuNoG1yjp81i0gB1KwH2ZBtxW+W86sfOYO+Og99mhsLJibfjf8aeBOqiYVJHnieWA5QGQL0s8qS8k9aMVCxrRmGFC1KFtnmakX3Jo6vLEyKbJ37L5tYrJ7ymiIdtQPxcqWJqwdn4g/asAzelnh+Nv43GngoXyoBFDoBOV719PQctvNw+rdSojHhRA7+Bs2TUHlercNxTqH3I2ixmVoVRUyMaEdL2S8fRU3pHGxt2cbDLkSv/52pGlUaAuFOwyHHRHEkonh2SIBrZ4nkk7Rphj35ffez2unFM2Nh9tdWl2Zom5AhefHKMikzhHiZiR0cfPtMDEHPWp4Gxb01oq89CjEjcZh89GcNtqEn4kMqHp407/aQ0t17FgHm4bAyrpPFzJlU7hzLAkzWXh/t/J1OnVU22XqJ0tqnWGEkTHLSMlNCvwDWIrTYsUTKPC2FsH4kyCbpAXSLjmpkVvILiPjDZxP3TjRnY+e9s4SLsxNqonRPC553OfTAd6fBD9tpyealOnp8ytfJifUt/bVbunD8/LIEsLbzLVOkdQPjTf4TvE2v+RHB9VMHnzFgBQGuKLUw1TftDjlKKN89HL8znos68UCFdL87rY75y5sYwNMArdrvJSs8+fGSnJAgIsfRqxHly/EdOSlYkeCPXHsA2qWApZlK9DOVoY3hDG1HBath+BT7vGbA6mZrgYc7OzayZ3CAOzXmCzqSb9WKy//UQnW3ZQt78RSbvS4DE9l7Yixkg7KGe8yZMNogObOPl8OJjr/tDZ18B4sIiZTGUpnL/Z1HmzGUMb/CJZZOPQPuE95eMjyxS1vEPwV8xqvacpQoMQThgwDSpHfGtvi1zhGqhQ66iLmEtVr+hPAc93tpOYkZvTqBlWdi7RYSaFxIi4XBo/bepC7HXQ6rzmHqoRPDkj3WLx0/m/iEIb/smZEQfjurPXIMqA7pzYx8eAhmj95rbcGvYqDJwc+lan5CBKzdGayFYqZngv2xs/LD2PtYlDG1FaXYhPcvTaIjcBtNTxDn6t4X9N2+9OezscZBlxRRXD846PV9d8r+VxL4x9IFxQJMJlAIEdxkas6VVtsS58F/lwiatPbZ9oRU09qJJVPdsKpaEFGrhnxuT8ZSThw4SLLhtqLCBU20Z/s7aWidDPUlYfyf2mf15Dg5u+P5x5vGyuSP4Wlg7MQ/OpZf6SzVgcKHhveXhC3SxV9aysXVh4Ij2yH24kIAQF6Wby+zLXQ+/0U6Gq7OdRycBoWtdakKo1DHGKw/iehoQQE3wbgmfGE98ttxCmjLN9JK6B3qjA60CBTiyt94UceqQ2dyLdjoCCldO78ySZHmfHUstlFSeWjX4XDdI39s8Pu5uScZi9/TrK2nVIszv0wGiipqhYAA7hUUnkNBLtx/BC5aDlN2EUjvxZFAgk/XxxkbPhOvTtRcCj3fzn+6KpcJAt2oLIas1FMSrbd57dJXnUZo/uifKF2IAzxryPZkaxDRLKRVb4KnpNBWuihRCsjtgZduE6CA7M3Aou4Op1oFRuvzf9rF22vKD4Mg+asjf1FVT9Hg7XrbzE3uwkdfMWrQlSyOkrteixozO4QXXfSJbJlcCWdCQGYLXwH8DhzMyEKzXbKJHSEOMGRGPsR6O26+tgXgvU/USXqEIqqYq5Ow2YK1b++z3zynND3ZNj6ZTPd6g40mKkeADpW2n+a1ndRR6ChlQ9Kydi4oY+/Y9t/Ny9V8PuourjyrnheCNaXh6IWwvvSrG4uPl19ULRcHqCu1dZwxLcHYxTTdW3oP5K4qWTpGaIepjnQi8lSvsdsuKK2ZBMeRH0NTpJEtKSrMmpFotpgNn+Tj6IEOs68Spzqd7d4kXhQIOSSLclVGLwxcQ0DfbRNoah8GtJmtG6xk5QxixsuJW1VOkeLRpJCSHJRQ8iKySRRouNowJuPePIZ8nQ4SXGoAVuH0C87WFAvY+zqRLeaVDg1hTKNvD/5hz6yO4pHd3L76p/5OCIcyJIXGV5vyqPL3x2YKhwWXZ46IqtBQ0SiMpli2hHe4Rk/SdBWPVVBRJpKaD9FGm0V7CvK6p8STy/bEmC0IyjTw+i1h0oq2HIsfE4KjhMEYeSMC8T9UY529mouSMXXNHVPruT0QGEaBnVESxOiq+xGcGHwunOCMeW2nRpbNUIRp0gJf8+aAGvOvbYyeXiabjiI70sJIkRuBWP9JBxnEdP6EH6cQuWIVBtkeicXmoOwyyXIpRQLSAl9WrvfEDY32LyOxZqx32Q9NkZGztEf1SDnJXgcgfhWUcWNypj76fadmmYZ5aRMCd3zWAdVqsSEPVXiU5VLFO3tZ9o5mj7fZNQDtknvG0FCM7G2RfBS6LY9+UH5dAQ9sWP4ibTH7tGQoqgFUUinmzd3bL5oewVFx+iCpLEE1PYRLOFcpW+jALKKf7Vu4Wq/KU5be5bnxguOUV0Vi73dyHjImQhEljfj4hxLzdmivTQN2tBVGeOZ6elmvruj4XPCHcu9plsmvnq+WZyrvqFqsQBnEbR8BWhYVXqTAScC8IJMAo+gJZZCtxc9whkiaCHfDjKHNcseoTc1rD4la7L2xaT/Y9EyiriVGvmL3WfxSxEib7C3EJ0xmwXC0x0XjIMxzqyiAy/roMrvFsoldE40V/8WV1F2JyFIfDJzrpV2nWpu0B+WJMTq5YUq3om8cfRZPEoal4zDGNbVHbY6kaZSTk5t8mXkf87mARQ0GkaoH3DTjIIdeABI3GpH3ftbG16fE3k4sGcv4utvawMl4wrGxVfn8g6JK4VNfAgMxvoQHjB0mIwKKnjEQTgGX1bZRtvOheHlnprOsg+3dQ6NdhAJhl7ERZFldtcvBNkittz9r/jgol4fnJ+BMb+/fw/2kFxrRl+0ZHrnwmQ3ZNpoF3M2YE96PVHgATwXjbc7mVIZCWMSHYCiikhhGksmFnhbmrPoIx5Qan/zmWKu7y4Sa9CEu6fXju/AgqNXVBWvmbUub3ztN3C/7Dzw8PziUrcTV6i4kRnuWYkonMdQHU/8AtuoWagdoDM42SKEuc2UBnh7T3OYPDpB6t9JvS4BrArePcwC1yfaJ6vQhQqS7pQDfh0hu0x+rD+HX4BpFRUN1T6pG0B/oRtHytlKuszC8frzrCigLkas0zVSRWHges2j/pYLB8bVUbGh3zQNpQs0dDEF54s8WlPquY05B91lsq8h9hCvJRkempksbxByIdXt55/yJ54KAKR9rDQmqgC3OwC91sLOaA06FHkfSjKtv/k3d8kO/JHEuMLv5H99IHKf62dDCefr5dbnMaGOKVXqFtWzYklQ7g8wakkwcSZ9UbmZLO2WYb7tpdkwv5UCjftRSHfWJ+AkH2rWq0lxL5+CpGe9/A5GYvwr8JVHHxNWN1jvJgVb18TF0vK5NraUpCbXn18+UyjzyHTDKXMe3ADC++BZH0yt9rYc6tIrdZ5SXuS0/jMGWGYn/LzYCZ8nABlnVIJaqqXuNuE0zolnrSFIuMejNfJ5CVduynU4aVIAHuSd9GOZhBVgxZoFohOMFBbGWpc8+ZNFaVl2W/DfkWFbddsRKdNDCcYqYco2Ui8VktWIfSLV2fC0VK6IhJyl1jegiGqU8H8BnuzTJeOiZV7RwB9iO7gFZe0ewZXjQnDNGVUckvJteJ60H33bEe6bWqokaOjRhyofC8zN1vRYHMAq3WyNYBsLzkzdQPd7rDnQyqCNv3oF8wxLjASBYLkFJcnGZEReEIaoK6aGaUnEyZTgkdgbCw1tDgHgYKmFpe/K/3S1tZN0a3dntHVgiDFFXFIVyzbB1UTcoZsn5z4v3NTd+XPwLxJBqIH5YA5ThKS104x65DfC9y9Ax+di+L406YI1yj5zgSt6lrhysPwD/Ftsl9ap9POUTOahoI5YWo9nu1KfTf6Go/gdNVnol9dmbNcHMXxFxqKim5RNWM0/isq9PKsYsQpTlseflQvEeiUvqyInCX5p3QDHjzemWxtpF7kD0DKCxxUd8of/mno4bK52fg7wCEWkXMdeQ8TxFP/snerH9INoaVB3sdJBT5tuY9PFbU1nd1HeGUlUrMnW+aaajknfwrG//ZJwGeqmA9+8W9tFK2EMc6/BXA8VETSm4FWo8Dq16KaOwCoAkLn4tNA4poV+0rjXpJdAxXbBfWK9dDPvsUGrh1vy1fBgGiIEljTCexJvfW4kuVMYecZiiC+FJlZn5weFvpgWHVP3TNzAtqRUGaws6YrxMkIoR196Nt2p1dy1INJ0kJH1co1O6yf+zwNYsm0DDSLhOVoJ2xEBeiZRh7HIFiDgdC3dzps06k0PrF39aY1BEMEXfu8N/zG+BWNh2Pud2f7susgwpEir1jRHAe0NNFV4HiGT9fx3YsRC41HOg2a7Xh1z2ZxRbOg+GIQF0/b1NPn9W4gCBp8+qlRg4kT1JVm93OWYCChOeOIPIMwxhVpNHm6V2F/h2L4aRXDAPlb9lGzG2L9y6d+X577xDcXqNCm9gcNns/YRTEqos00wCNZajUzXAbnVL4Wjw+ks5wbsF/ouyJ1ehRpVVdBB08JMGcYL+osFFLDibjWIzu/BCZxjGzx27M1U2PYtKVzlcZWWj3TumRsS5ZYdu7E7HYv0FkmyXAreOyY2vakJcYBYxNKhBLOVp/yoobzS0VRdPUOZOODmDl/J0MI9IhkIUwk6os/Nvzh6rKuCA17KcF2kycCVKYjk2hWNfN03h6lwU6fqzjB22vZDYuRQ8tNOEcsSJFbS32X1kLBTIi5oRbYtGB18Yjp3dWVCMdBu1rPlvnflJ6KU0YIqKmPVRsuuh3DNFCaOW5Skp5GuGFO8CmwpfGsT+mF8C5kV2Z75Q2WC4eNr/wXFpsyS/jCbnkz/ZTePY77x4Dv9atD1Wcy/IdWuY9AzIsw+jIi9kTJPANBlL89hWP920D0cJiX3tgWYq0RPIe2+SZrUt5N5RfvTX0EOgnQiUX1G0EeFxtIdQoYwH6pfoi6b8bvkOUQRLklW79AW/6LKJ0mpeRfz3ekK5AZBy8weRBrSinKm8VeEqs9SoQQcAgAnhCcDXNFedNxbR3bZrAnw6xnsxFVBFas9Rbr2m1PmiO7ZRRzffPb6/gNj0ff1xRmfo8m0JEEdiAXYcFCYGYcuiB4m2agegxm2ecqd9PhENmLVNsizNIXU9Siq+IJ9QWct9RyQegozJqhZ54t8QlarUyljxNC5Zp5LX7TqwcDKVeBDOWT05grPT1hFI/0VTzmVe23FJaivVOL5YgQYz903asT3lmJRcB3bNg89dgTvLad8Bs+A3ovkFHmgiEa1eOcoYwUaOSdJemG8FPRy3SKwQECQrjX3b0JPIwA5Ek3mAEvXyqVt2446Q5NRj8IMaFElb09/wx8B/EiRe4xvHrYGA8KG0zepM2sAeNY4B3lyH1/52PrS685h18238DrM4SHxT3Rlh87HYTPocUkfVNBM/hUgwFLBXkMAnqU7d+P5NP2BHrr6Ob4ogRLiEWhmo5+4fd52m1rIjrvVJU7wW+sOHUVdEazf0RGvU1KEwOnR5Cq9ZwxldnyRyeFQEzhBhhNM9pQJHPsBGjBOSKROrztTVuUD0YVtGQfLiOlCvQIITZAI+9SzgZmO0ASdUKhVQjo9jS0DJGIXY8LS51OQTsMR6EFymhBMN0/n/0DNMFxSNFmOAxfe3coerhVnrIqtzxpJjW/KN0luzNYN6A0SG6IFcQcYwnJ9bdpBpBrPXDSCehEjecpDHeb75sdklb5rjsoS8dCtWXycAvTrHsB+dSFj7Yh2nd8h5R5F6ShGgSMSWnk7ocg+tD4bGjImkF5tOhZGXpHRNW5RKIp2cEqly9K0rM8JBWeu1f6xz13t651bMwAm+Mz7pJ1pIws6VHATAZQ0r0CvfIeAg52rwuHZCklDcLha7rUsgaJdKujoyl3YdXVteMkl4ZF18NMA3Me3xKNW+K5pZh7Rs1m/UW+mLxbcwXC2QoHuBGueWyjVdUoJRJ7iri5DcEdceWqIhJoyjijrtxCpZkEFgkkLARD8yiXp1Y73UJt7pH7KDP4BP0Y883CanLQZw/9GGCpzzrEVfsIfdBNhb1BTcOTileY68mzBLcIXDiL7s7RbAOpiQiOKCTXI2QO9brreYll1Qz0YU7AftSSqm+zft9Nt5C7Z8LCFqx0fE1KsTabZhUf+qeI3eNsjagwLAtAr0+F672t/6OiO0u2OMd/ic7jeQ/3hVy1OdrQlL+GXr2C+dC3gay30S1PLLXsGUihcgeGJZhuXO5Nej8+AiK1kxfJnfDusLzXo3Bi+KcM8KApGAHkEr5h5GsbqHCFjEKOywJ3cjvv6ZmxQT4hsnSYzqmeRLnP/KJIU6+3ZvbeJ+pkxkdDhJkkyBTlO1rB8Yzv7t42jXQuJb8K5+AO9in6W5FrTXZufqhXfYzbI4rVYm0T6LrTpVOu98xGsGEvyZC2b45ys8eNNt4SPNfaj1m8GHVqiD+y4myLUh4QoGmWQI5xEygJ839T99g6X8Ti30RZvCPLyYJIp09bjadrZCwcBwPKx+Fg97XfxhoXY8/AbM4DCnwE488C4XYCC5E85MR5AYhi+0Fs6ts/HyOSrXniabJxYouzeBlTtF+wzUbnGO3EPzwiBNjvBy8dGX1D8VaEZL67eX3Ief+YKMMNXY1cIkfKDOLFD3UUyZzWKBQnmDL+FouNC4aECEN0LDjlC8TPiqOUhgcUjbvOf6L2HZEnyvL631dkQiS1UHjHk9CGYqeumpcY1BNKj7aKffrW85AwAdRJnUC/hetTHM9xLGqmMUYUHY1zcP+Tm3jrmCft5IHRxcbKjf3/3MpM2Ra6aDmus51fdsladYBJhBIxWvtxQ/KQ3iJ8UP3zNvc0zSLg+r3bD86KUVUrDDDAKmL/HlkkRr6mXutPWu1KtToP77cg5Lk2ob2T/ByTlTFGxtDMf6ZqzB5mWnD+8gnucZlF4hOn4Lka4vBKv52oXHU7RAS7FgzZON5e6y6lZs9okY3u5iPh2wVd99H7Pk4JP9TylJm1OtrnkoUymz1e7VpbSyuF9llacWFj3UgJKHhUCagwu9NLH5cpP+gXt4aRbMPcgksLu8SQDfmgcQiCXRj0XUJoZnkgUuz5Q71cLrS2VNZIispOtssxdNGXV4iIMygfIw/GYl3Yke6OxkvV2LnjxSynwkn3C8NVa+5OoCvKWDVq5FpA3PLkUfwxg0GjxA/AzEgoKB9MeF+Fx4CvJnkpFJE4BvF0n1oLFUy2KvF90xS/GibPhUxO1Z0oBUB/xU7vX2YgbdNj/jjFGVtr6smpmOyhktzq/i5/kcnLY7S5JHDedVgVINW10ZRTBX35XgeOwBPGl2MAcFjDLj/WW/lvyehUTzACbUgaf2QP7ZPHtmVQ+2UQcACZ7mT2L1+BYBG1QnFfhn8qm4oRb1FaUvYIzBQUbB1Zkca/FjaVHWuoCyz/ZZznV+ohu8ci1rp69j0aXEs3oNeTK8FVOUlE2fmjOmPzBlDnunWQ3Aj6fu3QPkjng5fpGjIh7FbHmTS+gfGGu0fGwmMZBpekg8t7ryOa3I1TBx6Ush2fzJq4zjUobXZ1ekDjiTh31xQ5i/vksAyF3p6X8NySYYMBaim0WgUcPQh8c7XO7R1IAPTF1khBxzug8CHmwweQBUWqj8lfnWLtEfK+71o1YqQPs7tPZxmfINaCWaY9uFYHqyag30X96ww+tedKSEAP6FmahAr+PpnmOmLXiNIBAniLAeAkOEWAD/TRg9XUd4883v5rPdgL7OArOORcvhGcnzaXrQwpQLnDRlEnN9CjuulLlt4bRCwBXPLTkkG4oxkRZkCAzA7xDwrf5VmKN7H2AQXgYTqEIV2a1IaZ27sZzReh6KtyLrM/fiE1xDUfzu0NK0UcYv1/OAiCsAy/Ov8AvbxJ3GBSgFbuizQ6v+0lnq4aEJFcXFhSn2SdKpk5s5hIiBZRUDWHpCjGU01jjSOBjFZvbyyNzkhlS2kJ6xADT820jS3yQmeRVrf64bhylz7N7CZsmIQTBx7hm0mY8D39jZngUhfe+JJO4+vI2twQJNV6y9vV4eP0al6DZtn73Y7W8Fo0WY6AkyV3xINAOx1dORa8vPU0B3WhsuUad6Wy201QR/GUJxwQSizvYsFWAqK6w66VoUkwLV4CaBdwtv2kpjgcxO4c3I3dxALtIEj4PE6aAvU0l3LaRtJIWp7WEHTXvv+aw1dERVtkA+joJ9JvDJSF7IX+CTe7wZ24up9eWy/wdvIcJ7SoZ9CRGIyj4i3KiUSl/tk2Wl28Pxs0Xa5+BmMh32bFvbapx5W+1eraDP3LZZdjce9wZMtLH6JJOlTGLffkgfgtDkUuDKuIpeQlDQRJxLl5zsezbsmzIO+VZTrKDThxafU8b948slBeQ56BovZXgEUx1glF/bndANvvD5LzJE8DXv576CVfUyHYHm/x0ICDRl61LzLwWLqidX/2fIlAESFGJGJwV49iU+jzvf/s957NCyeNMzEPA+7nqbMddESCXg9Ub3yiieTso6qXHvPNNVnoX2S/QTSbfsyWLutoDhj6N6SBDr+0mt0MJyOWmzzN0jq3DDVqipb9cv6yZSG/vpV2BxBaEPnD8V/0mPBeRd8B/PvdzIN25XBuhC38Zg5JlCK1Zz7PNdbbD24QgkPxZStfXq/U+P/Cq+JY0bTHlD+8A1U7OgIPUJ51ZNX6exX9GNlpFIYGvht69pRgGHASTctv1DNiuyXz+Fzw5Ct8LzyznJtcMt/KWF6DcO3P+BWpDIX8gFlJunjQ3wmqtT71VYI9452bnCmLqnpYOXeKBtUVk+6l2iyh7plSD6YBNCAeETTlTE5Gub6cCIxauXlSTPsAZpc50gw2oZxBFRb5gd8YNPlrvw5Wma2RDR+tpkNYX1KdYh5db0RaSC8VPhPAtzFkETbDtD4d2nTNiwLuEGRW3IwSKPZ2rhMbjLYnjKSMjd/cgMnIZ+Fgul+r9eFV3+yx1tl+Z9g+BDmx6QKR2T2kGSV5M3xHahjOW4NW3W8VljCz5mnJLsHn6+jLTVsWXOhrKeP4o/+H5MsHpm1NbGmfryBc/5dtve5DmXmAIzNebp4QslAUNzFGbI4pKzHKPnhvi52bMBHe3KjJysYF3M7kf/Sdif0O8YAgGvFfQuXs6BMBul/1d71NOuA2qIUjobqVGcHDxocQkWxSwWxooSp8kL6uZMgPV5dHaPsC4HlLKCUjxuub1bm/FFlt7ew4CV5JP//qnbQQWPPVUr3F+R0GywF6ym9a8XW8vkLzAdXEg5Pk8R6SpIPo+p2n/4BeOaDF4od4gU/YU1DpNdBZ+xEk/hzJaws5PTg62VB+SYvGJBb3ivYnTj1/FUTlSqFsGJe9vhfbimMC0LZztbi2sQt712PnQKhUfL5jY4akuo4DDZs4qJfLR7hsewu3fGtwnIIOPALBshXJabuTsSmLHc+BYUWKApuaQpnDbxJiIGyCKH1aXYLPsHlZy38Vbo+vEDctMB4mr1P1wMp9jxYEHRUh+Qq5mtLXQSUlRlLDT+v/rqU/55ga987ogoKdyTgmNc5MJWAILVmXY8Pvwq19sUUrmploQPx34i2V+uHHaF9C3cMqEFHSsf+XcLdXUOuOoR6NxUZpplpJ5qj7kki8VktnBehTSq89bpgpMAgV0C9TFIe3bQqH/pwEy+hL+uCYOXYdIdofb2aEn32Tnq5/OVnWOGGq2bUDoKIfefdohH0K04cjDB94CNr9MmXW+biFwn10AblytUVlRgXaPCDB9kXbX5hLOVtIw4LP9g2K5lRpe8YATMUec/7TZku2E6kATrg54QSPsuF8sctuXd6szuKbIo8SP83GI3aibZHJLkmklk93v0LYW2DLP5RRZbUMFrtmOY12JvMBGywOO27datHNgu29uJ+tV0uVsCFgLq/I0Xbt+Yh7EoFRfzOELh/mIsGlgoL9yy+MT62mzjXjPYX5KxCVauvXAz41wQ3BKjgIeCiqXu+7yGZIX3mqPZP5n9EPJuvSb0rH6w+TJnqCMj4+7uZXgTNdW2It7p4V2THV2zbyw83fJz+ryWUTqpdFjgeRUPWal54Pa1qd7VHWQQULRePLlirOFS1aCWrE/6m+c7pD/It4r4jy28Dk/CJVQYrzO0FS9sQK+iP44DcEKBjF5U3k1zIVjnQfwhFoo4tFW9Nl1UpiaS1C5w74VHyP4hx1bIpB5QRk8bAAFFajp83XXNCksoeoI1/lurx0T1Xq6qt2PzD1NvkqlU4pNpWw2bbPgicP/8FXUkKO94Ueh3fQrDcS7RJqJUGVhTj1kome7/evVyJu3edlE75UbnqeizNWx7RDgkKAWSILSiLlKxFwZkvALLGmMdupqSbnzBvslUW5B9e+YreshWuX2kogqzbHz8q323I1lpspUTlFvqsHEllA0I0UWtOAuU7BHq9aGebd9r4Of7b/3zZPTwf2ai4noE0I41qM5nbsPqcO78m/ytj8mF+IXEO/ZQWaa9sjkv/sxatnvDSdlJYv8rCenJUAomoxPymeniE85fv87BqkILnqKBIn4Xk1RvtXy0VhNekat/HKIIEKe87TZVeCN5yw8UcMUos4AYOALIzDCvQhVpp5/t3mnlpymUgmoJ4hxv/yeXb0yZDWZBK/+zjPdz+7XP2OVexVo66y2N7TzNvB11lWzBPn5zjM/P6xI1rbW+XZwvfMHyCNv5NksOGTBrf9bIDi3/FOBGYt87uJItk/O8wtk43a3o9IaZ4ifP9FbPuBs2JGvtEYKZkUXdCLsu3T36cwuWmoFFyRRZsoHC8khLZG3GX/ujxqeAkWPJDxfcalmdyiQM0Y/Mssm9qu4gfVk55CYr4ejaD+piYRBk/RnJLc+OnB4+/nNs9m/DlmKE9b1oihXrZAH8IJjLyWQk/q6Yh5ODrsKrWfo/KqpWBtxV638kdS9Q5jq2hiNX1egzcmbZDrntfsqhzAF5a2yYKVcH6nkvsBZnqAaqCzrMzAhnkGhoU0Un3Tdh+67b9q1+fY51FcDH6aZtiaLYSuYfrd6Yfb2DDKqFl3e1CTR7R38brSsHx5p78L0Jncdz/ZLuVqLG4fpLIF8N1tPHjY68soFBgUrOTOOeKP5ioQzqY6s4LwJP5TQWSNCvWuHKN16huoE6cWq6vTMQb6JIU2R6jsJcNISt+MpHZfeNA1yyyjoGuqOayrlEubkLTO4unC6Vx+bIqivn6mVTghCAhotMLo/I9HxhCFdx/sEpVXPasxuMOOmGlWZYLOOv6glfj/RgD2vTbDkPMFtU2eo7xAXYa09LuvcSzPW7loreZURPO3LUC3FUD7Wa+IlT4lZFE2JFyZxIgfPq3tE/lQH17epQ4JrPCPA0ZKvS5xzwt3+gRndJItLqZNUNmPUo9/nA3L6iaR1aEpdfgY742YfNEL4SxIBlkYETSfs2y+uipF6mP2baeq3HUoskiG2Ysmt3hodpKXUJLJFI5B/BrSx17CsamP+exIIvBWne2AhTvofzsL0dC1lb5I9ZKKKI+SSfCqKtq+SREB0Xf3BFCN4t9H0wzHGNmzchcvgMyOF6Lz65H7tsGIlwA9pfwNem/aZMLLa5pr9jiEK5+aQL6Zu4RCU+7ROVAm66ExyKvwwB08h1LYDnbFA8cqXMbl0Pd2Huf5a6qWwAObVw6QyNY3T8mfldfw/h3HMaqps3Y8pgjNM7S6IhQZOh4uvHOr5DjCnS2DD2a2pnXFMkYjZHJp3Cg17A3vV1rpFIYNdKAx3Sgc2DeZtbunclsTPNNpn33mYO2Dz13NU27GoZ66A5gZ5hE6PLJnwaFLVRfsFNEOgQVLgGEKmrIjRGEMEEJO4MvOdQszWnYUpUV3vWoTqmu0YWDMa99yMvO7N1UqT4KXfJ1TL0nKVmH2V4dXQyNvS25DAt29ZQLjHthqvIs6AZQul/D7GBhNTS/dUq09yi+KI8DEET2pyGIHz+kFa8WOdxzFdZNrYNaG6Caeo5Ve3vIVc92NNMSvH67KbYIxO1JOscQInJ/gbgKs+oEvYUfy3SfCWiCdK1zMNT1WdGl6i0fJTB9IDhUN/t3F5hLbLS/iL+iT6N3GlaY3atxMGJFibahSaYrK2rDjuJZIY7FQkOFoOpIlI7ZGdw4eTfmbmP/2ppUWwjGYDFzUX0qQnQzLI0xq0A96+jgsufd/yvKezxA+D5VOWa3ewnemO/umBRS6KWdVBveG6cWjqZ0wQCXOaLkJPXkhmh6AXbE3OWBjg0gMjT2ILbIf4mBnj6nGNFtqyf0AJjn1FxJI9jH4L0ZYmArUfJ1eescf/y80MbtzackClFx+ZPuSFNLnxqytB0CX963wed+K8WIIEN7nXfARmZ1WJs1ojf0ubyLUGqy4r2kevHR50s5RsD9vecBDN/ROJXv8P9nsIyP9xztyKwjKFB+9oLFVR+2l4fiI5WtgJ2Sl9yFIVgms/iDIbJQqFknt9kk8VYohS2IfO7u2W8rKTRr6Lqe0Yt93H4bcPfB0ehgZZuHumeB6HiIO7tbqrdNC2RKppW1sGjWdb2ybkS0Hw00tDY+1C8qyOKkgomdvQU02K4ccwXz5B5d0o20RHG/W3Jz4vuDhOuT17ojE7Gj+xrNyOKJu0Seiw3bg3OyISjSdpsIMnpaCVuzyo3/Xe2UaD5/JZF20KwEgorkAY52EeILGv3amyzUZTSMIrZ8vB/PPViYvZmkVcGiSRswLc1vqJGdDjtiMNdwWVv5u7/DeQ4kAe81kyTGt2e7NnmvkYel4wqJeg/90RS6VFpC+ofkOFiRQHWqMPJ1WVRuuzhERdQhADT2eFjr2yicSDe5hn8lYv7BUz/drbWMO1Mcrw0SVSyf/HgskTrjHARBEezzjNkjSKP8msZUC648W/EuNbgkU+RoiTmYX98WcuEU5PLO4KmyzUj0ILyOE4nGd6TNpMlsPz3XPZabV1mJEJHSNToEVOIBC2QjGiaATkPpCKM3EpAkXXCavV4Ugp1fsVswz5DsBFaYkl6RfKspkSJj8AGTjzP3OtlEnGsS4+bRZ1o/8SJkb610D5Qmo0UnlSCEFG4c7kfw9+bxMPcaf0Bb2tm1V1+0l85mbrJMfL9rTot2yKd0bT50N7eEUb4g1vfnBeJfpnTmWmMVWGzc2hsA7KZq4hBLVa/g2H3nrfy5pz6xnC5HOjghUFgR9LtD60DTbmSMr1sbYA8SRguoWoPbzGmH/KfwLRZzohfpESPnF0E9UkAK/zbYq980RR91wadSatLCoxRkkn+SBiNCfgV3O+11EWIK/SEJMSrfiYSJXKBjwkq4/amUz0nz5+YM8j9SgX7uXUnb3GRFw29wO4F+fFfbEirVTnDs3etAh8ehbjLsASvJN4LzpsGUoYFA6nEtqU5htA9rJRUX+ta4RYLNCC0aKUJwoJ1Vg3APhyR+rbRJ8yVKwSHFh5isVtavFivwwO81cW684BMv/beciefAOZzoqXTUUSl2Gr/g+cMpBO2w2hoh9NVCnthv6RhxNBWhSZPnGA4JVXuObd6YOtvIXxGam+wwcacuEsSRr/2tqwIdYxhYuKZSEzFkkVfgdWpfKTZ7iJ0d6fa90haBrROq5ViF2+Uq7jW+C/5F55Gmp849lua23F15GQouO/IokOQs/JnLg6Q2WFLxGQpF7239UiLshn67bWHWcxCjtc6IkMheTtU8LvR2oj63p8SvTtm40G92d5sE4A6x5ktiitoaoHg4eCJK7goqwGjWMdFkGgxCSPUse9vQ8/xRZZjV4xarlbc3BefTjY04WRHeSdrWew320fsu+pKfniT3aakq8qMCIc2i2JqdWy95gSh4lRFuY0NQcm6HPBL8ySSWd6+zyQH3GboKkUVd/5r2nXZgy2C8bmlv0mBSItISg0uqFquarSaFqnDbQpyOok8LUA9cuWab4LdcMMD4FXXWBusWOfyRe6/LVbrVZkiqzRo8r47bCJd+y1xtIK4+AVallY0CP4zKaJloq/HwtgC80zDJUURF7gRC06o+6w9OLJjh781WLY006ElPDP9/Atl6wz7AdIa0Rofc95zbvRFGsV0Tsk/N/xxdnUmgSHw+E/3+SyIkp5/vuZ0TAQ1GRFcXozisFOFogKsEcn+9+YMcrVXHVgxIH2aWSDiTf0XupSqDvRESFhlLRKLUaW7CyaNJlR97QEYN/AAlmDHRHh3YwUgNHs0SZ9XwjKs6Q/DXbhuHMZixTN8FyS3mGUXN5UsuKYJbbVP9LNCJIKOwVTZn6Vvo5mr7ZTHyB5+lm4iDWj2+x9GMajwdycLea2u0gallo9PrMdDqjpgyjkXmWtVrrR68NmMUUGbWhp1YRS4QZn3IJQCnC6xmOBh4GGzhN3uc2TnFVlBfIPrEyCu4Ar9b17636dA0wYOqINwm6d1USSkGdOIDL8nkqMFxQrOxNYmL8wO1G/dvEKtjQvn5jOhxETRY1aSNQkydj/NwTbStJdaMIa3KBCbba5CUrrcmiKxH9Iz07kkLKpF8s1E9TfnaM1LlL1oaYNckUrGgXB3bADD7mqbEnS6NzouuTXp6O0xOBKDrGd0luhXn1In+YB2mNZ1NCxco5n6dBqroX/Ydet4CMaf0aWQACUXzDp4FGLsgW96qb/DMMSDkwn0LtT2jFKe56BlWlJOhbZwlJq38QAgEeJpJgly549WH7b+nZcRwDB/1uGXivaiFBFMJ9BY2YpWHfhODrUlKDFcSedfSeoqtsLTZN8i9uMRGULFtN+YpxPJGxrDpY6n8Bv1CN29LcSrwBFVrWyJYlZkM9SSihbXF5JxO0RFfvw0e0gdr0VqTaGAFN+5FqZ7rGKlrFiZ6WS7OqxVEqUT+2VV/P6mh2O3DkZC0UZ/E4nHDjv3i4j10fiIzdxjm1WcAIIz6MvB9CmRM78UUYikoyAPT+0mT0wnVOD3G8caVEQzdoIBOo0MhWbKeAK/qT8hhVaJc/Wl4G6IRxuwE7RMhAaRI3X7d2V0m4tJdQuqvlX6jqDsIC7zvrcD8Y26JWZxQlv2cCGmM9L/2vz4SN6ewG6IXtZJ0av452Q79X58xGT8r9XT8/Q0dI3SD+c/JvDYEAoUfS9cVaE5w4DCzT4u/VorhhAath+aysHh4XMwnQ4QMOks4QhBcQbjj0rzxlJLriQZ0YEbok7mFseOmdzpnlYR+5QyC+GMBj6kOX/HpIHjW1MYKFuZ1GzL+wD5rng2Hi1Z9TKInYfZiTZyig87voCePBjyoV7N4COpQuFbZSI6hSMb/rj0InOnNifwOWFFDUjJQYK7Qgsc5B+wrnY2BTtnYxc+COFnxPzbPtFeXMQm4wgLlpzE7IMLM5tXzhz5HfgQGXgDGl4M/C57Y3b+FbMuY2kB3N7IaMMN6SrjG4H4FsZ9oOsTh6+Zk+rxA2mKhl5HO8Pfu4S1VzBbtd2eNL2x7iYi5V4ufoSUKavIPGALPL6YQ6yjYfa26qMfu/d2hjQBh/JBxlGCMqBMdfHoa/IxP3tXm7lT01XQ2E4POMbUc/GAf2aLswd+5SzvS+NJaZ22AOvwLVA+nb47omisAnlwxvqh+QqwwwilB75PgV9I7AACT/K/BY5x0KrQcBep6T65nQ8cm3RUesHlNKFLsS4zZgy7cMjPO+JZyMh7qBCfTqdGJone1bmkASeqvarUHgAWMRmUG84idkY1VCW6+T0ReqfCJGYmPP9lJ89YC4TNiLujaunywFyJvQrOSg0Ja4X+wz6RuGzlwdhOfv1nXq8PWDWkAo/SVgVK43MNsL/Wa6Xn215jkiPL/iRRqcT74Kv0ubC/DJdttxlcnDzesLHNf4QIGcRTST8cqtk39v/Vjq+OfR+gvZFsDN3mwQk2mYxbvJVHxh0lh50T8kGMo/tQ3aJB1hrDkMwIF0Q03eaK/auAu++NGcyly0FnRB46W+GVAi3LypaJJ1JE9WHS2cD1wzvKnS5bs+I1AfVTCbpIIBdFs8ctS7n4kZea0Bei5wBdtS94QXyjBoZ+mcfwl5PSaJa4rsqhXmlJ+Vk+tKtLWfYLE3aoR86Hb5dz43oj9EGlyDaWmTar9DjT8Fz56a01Lbox3k5g/GQWqhb/0l2ZMAom9XMWJ39HlSDj7CRuXr6sDiAVP3versY2jyrGQqL97sZhc1rHSrsRLAY2STSrGM8wTYF9bp3wqPllqkozVn/yPeT7i0bbAB+gidZln8eotMBCIdw9laZXjsMrQZv/bVkOtODMk5Cu6W3EESWrrSLa9EhTAoSvddnyFMmG3cRDisocmUiaIwIMk97O6L6Lc4WnMchwl9c8IOvfHoFzzSxOLtY5/aE9gUqm+TkL9npXyeECKPruMHlOE8PoWZmXatMUK7UrzSNCnB81CJl5SaMBZuPjhNqd8lp/t/XtmWqHLCAtaUUaJbkIwyIDoEFAJIaT8WyL/UTyl8Ee14MbUQhU9zbUXlIZcVRdm6FEnE0QU/BT5Kzuv/nLblYqIS/RirHfGx7wPHsPbnEYitO2J6I2slPDPcg9tkgXqke8YMHV4He0vxQ0F9mdZJynrRIQA+VSWbsAnOCKaMpesArhxVp2q21r5fMc2FMQ/LHlDSPwPhg5TxTz0kLr7ZjVz/It/e5V3iLzSD3zb4GBqzthGEP05yAMy++1rIeDKx3p7KoDLGXgip55OkcDtpqpTgnZ1JIU4GyLHGW8GAt77rGB5ZvSxPk9bXsP+EIYRqllDZpXFPQsNqbQOnLZPrQfAdOvkhjm7fDU4HESKTHP4BaFyjqTQOyUQT7zQUldYa+p4aZLPVDQqmst3nDYLPGNU2uLJi1dGIBsp8CujEtl6rDLeqDjnGZBmFXb3p3NjWodZdZXyJFgLwNUfMT9tUrgw11kBhtUseJXNpw336mOuMbYs/9oYu4F8SYNZtbkp8glBOzRF0uKLWKv3MfCDXfZjursh+fB5HIG9NuZPv+9/XN2RE+SPiNXVn8bdl0fa/ITEiwnMaY58IX3vw0/dI3FMQAjMu1vEpEUkE2WFdrGaBlTmRD/nvKmfqB+Qj9yDgQxgfumU45oEguBoEF6OXVTnR9xE5RGCoScy/B+rq2C2yrTCHUQp2UUxWDNV3BpLcdE4yzB5Wxa7lvtNyHhPDgmafvoYY6Xw5yVcoT+h0jLxDfx6vubOyCDbg3O7WlFcv9fdwkDoGcdnOqrhki3/EsVnzgRfyhhpKyFKk+KboLLEO+iR6prePxG6ykL8ly1wpfCfUNsFizykSBFT/bNtbHpNJo8o2jNp+9xhD2PaO1jVnxdS2CTfD83T6SKVZ0e03U4cY8qq7zU4l3OMc4FAodRSQjitbFAkIIn0gSS+/G7kedMZUvCI1z1mFmD3GSg8BMKA4EmF45/RrraS4S68YazAoyhi1YenfbUjr5bVGkwjSQEVZnEHnE6kDBcBZ2T50D2u+YdQbJGBuKlcbnXGFPufOAnDm7cA/g6dAV6nvBIJD0+4Iv1Vi1KTPryTk3wqs53UlU84JSRPLNESRgRvmum0MEs4l7JUb0rZSXHB5STsFuMWrA1YmK6/wIFdJpKZP3hlIVKb8AlVb9MSBRz6iBvpA3kzHhozc7vNLNokUpXPebfQB1oBPz/nffCuSEwW7HOQfvS50ozTGsMGzbcZJsibv9jG5chD6ek0oFK1W4mW3BG0UVQFMFuvsmHrFMoyJvKgVNKhCEZXyO7aG+G3tuxKfiqSFYAtrS5gJdgJRZnULzYhjMP/MSM2DwGyAZkYs5jPx0S5KSjU9Tzhpkj00n3qEf2EoRu5FIY3XMUPTx7xeqHV9MrC1TztrAcTuIa7myKt4zfEZ8vQF/VDtV8nI0GvRNspa9oNZ/2UB9APL30zOQSHWRZZZAlFf32iCLY6dgxgwbx6oCT0Ci12sewUQsgLSjf5YkJqdLC3IfFTnxkj7gUCj5YkUozRFiCpIpNpp+Z1NSuL1Tx3RD/9F3/nhG1GPKBeyhI77MsxsgXwTedZjGX7LlYuhCcECS9TNGkf94iXoXMNaqkk33wi/Pkuu7Xg0Gy3g8OpfJHm44bAhB/tUpl7Zr9gpONiao86teIDgvUivkz4b8jcP0QzcXqUOtPc0+IKmnEIvgpxVpGMZcydwylJ3cBBsvuD8uyaH95yt17yKeMe/u2U4RsF6kU52p3Ak8tuIdf3ul2wZINw4jXMJltgwbO0+R7Awaxfxa0bDB78PyUtIQCNyuq28g7K+iZtn///9/UXxaPT3m5fz8hJlEcMioNfuQdC9FwXFYulPALsGba1e8m/1fpzB/vINtmWk3O5j8G8d8hGYlIuVpGezqgdGIBiFgGYPPRbH+oLCVyiKSgtWQLujZPgFOzNNJxxyfb7nMHhsU4U6EJbbP4u8bu8wmUgJrhfHiMDPyegJXD6xjbYctCK01ebhgEho1lBgwDTIwGl6Av9PWg7fp7jtKo3zx6xvIGOpxApRoZ/RXIATVN+kXkfvcvSXBFCS6uBFcAERdLcbk8iqWuN80UOHVlkMEUrcZmA2JPjaYzcMmER5qY8w/p3fwHmnEShBth66EOixT8bx5WPg9/A7tV9QvuTbOGtTAtP3P8VElEcz5nTtnX97c6ulnsFhx/3ycsJyGf0ZhB2DD2oyBfxi6KOngC7DhvrxGb3cgmO5tPLMxsB/hwl5gs9al0XZ05L4o7U5RfCqxZFdF3ndKoKRmNrC/hjE1+ACgznniuT2O5681YqerjoI7H/0gF5kp2r6/ilZpzRUC+kdIEctSoOlWX2PDCIzO9teiLYG1CUujjn7L804g9PeMvPkQUCdeoNVf8mgGbyNs8jz/+4RXunyKLB6JLq382B6wnojrAmEaKwgmVv+p/ugNAPGA15roBq6uL+NJ8FODG3XhOwJFc9yv3skmvabHnlO9vZAa9TarCorGI1ruAFKzTX+btw4BFo1WDSwBq3f471/SvCuj9qv5o8humQy1jFk2GFhPrND12fDnhEinPrIrS6TarQgPP+ZsRfnZEJYkm2lKgSR27keCuXFG2K2E/lUsv+tpZNBJBG/bHVwGN+UYXqRg4kHoGYgTJa+pei4Y6zIYwopo+idimdw9fVlde5EOCTmIKC1o3jlUp5gfUZoSIE6g9a1poBSUx4TeJBfpKSq/bFJIla17Rbzemxg3sMH4m42TXhShLAfqjRqPXFe0v7za9ws0+mSH2p8uvAMNWChDDVo/eh1oLgXWnPiNTiW2xpRiv6NXB0dON3hQPjLnloua3GxlRY9SJUYRVmco8EctT2oyRIZrPwCtPir7ioZ5zxV/jp7QMxZfe4EoCCO0WoiQhDEtttmHInp2XybWuS+Yc0BfOa8XZJBnGFuJS73Jr9zVaucoVQfCDiOyutSZA3WsI/jYmZd/e2xQb6ooUBeBFuJdxw3maaPrMY40GcYf/GWf4O59Nn9cpBuzvIxIHvtWnwJkRQUpOcByhyVtKfLE1K3iEqh89S5tF4IrZ9qyObJZrkSCy8Vj3qcI5ipwtieCb7KAUKd+nCosNWMxd+4iZEsIPCFX2LrZaFkRsx8rO5Zt4Tk53OjDLPKDbxkrWGjGcOo/7Ba7FRVfiizg5xGwRT+bjo54f8Maogn6RmMBAhIzvYKOcnLnISIH06heawXfLcusLQgI1XwdXiNkhXxHl04Uf3T4xtE4LCYaRHOoFY5JLAxEgZlPa1bQBCEJZVV5kC+q9FT+n27/LmKJejn41AEGsXe7qnIpm0qRGpQ7ZTl3BAAMRKx0mNf6QP1MWk0fEWqubkJbYA4ojdE3e+CWYauqBqhoQr49DCXwT75HWzAevmqR5u25QifEB0X2xA65CHKM0Ttppkv8jvrGAP7CKqKSHW8SzxR/D0OkpoBls3QNtxSTokglnuB9NgLUUcRwL4JTLhWTmAqP+xqmCAIxCWKGrIIQxdbsjnCrjqVyhR4DSWl8lfoUMAVPszqYYEALIGIPUnZ/9KxnKkbuhofVen6aFJhNLEbWPvnD3n4YMyq+W9ejPUx6Ur8g+GwuSNRZozfTaDvN4tbOor1yBRkkK71705Bq5PyrObTyYOF1raIJ70gJ7HxshERxEJCa5vY7pPqllJ+t9bxgjgzSGypiFXHH18QsMCH9Ml566RWpA6epV5OpvkXpEfQvOHcH9CQd44a7lqpkwAHMfGm1JlvxM2JUR4pfjzoeDB7/UOb/mGYqb5Ji9upzkjabft3SeEwXkMwSByAzRLmADMR5N0Vi8kKU2OBdINULOY+eDE3LXcPCFBCKBBR3ZH+YZekWYwOLF2S6bSyG0oJmxiEc8G8lmzbBEutkdNxxfShH+DOmdtkF5wMjVAWi32JWEmIA0SmbSg/QC7JZQwscZduaLl23p3qf+ESPV2kEUwvDk/c7JLtlt0tLepdqgnpHWIi3UDM5iXsnBuQ/sT9ZbYkKLpMSFAw3TCRMKAMQcJTBrUT6nj7jBn3upa1Mm4VxguOiCunrxmXxPiQAkq8BD4UA5tj6k5eB0Vgc6DQzK8PhVnN6qzF5Dw0Fjew9TL2BvuAbIo7xyoOy0Mc8VnIWNJAyujIWPJXOBYWUeZqDCRxg86PlDaIhMQeXA4f/dgJbcohY9LHQqJCSxi8hhJPT/gKrYdWpS9FWHqbSGJaF80p3hgclwGfT/UZCzH+FTSUd3EmE+h/CL/3L3pj4qBxFjuA9m3FyOWOJJwvTStKz8LIaUwanbPpFNLB6tpGsclKqnEUuibzTUPCATXUXHWCmnhalttt49xRvUtnN+adliHGInmTb+luwave8SQKSorCk1cBEXWyKk2fsmY3Mn4fHpALP+/5DjSBGISt7fvxCcSTp35N1a8VyFiQg+tYQTjAE+c6UKAcjyPKvbEn8PQO2ryC+JHXjNbVp7N09zsftvLdps59Mk0yJO7/9S8wUXwVyXpMpyXpUrGqE2iuqQBtdePcS/IBo1gtfwCGpbqrVLb3HDzDerzJdHvh+vHfKnXQSNfpJeX3JeHt1LJix7lHl0NLluOhsiySDWctakR+JEsMHoP/Q8jk6xPZwljMDXhqGm5tiwLXlvgmtHwRTzEDYvyixEHmgZFgQso0o8820kkj3arF5Ts6FjvAop8BBXzvscvoDhElAvarglU7qHfIXByOqNDDhDUV5J4YzSSmAEZx1VZyoMprsLZEBnyUem7Rxx2pkEkHjfIw2/Xp6h0HWA87wcjOuXGPspAjA7VrMjwLKNcdBuZbxHRqbXNBQq/55T9lJbmVjTwQa43vU4PqoyeHxvANpZLNoalNDXo7SbiHWTJp1RbhYM8+ok4uB1mj6NoAn2tVntGiqAdTw/WMQXnVyvUSie05nKF2iIiIYznJ6mi58BbLLbbdLXbBXBYQNQLAg/uELP9+POfrPV0SjPM5ThC3bomRPYjozOG+erwloMYdcC1U0NW7JGsKRC79rFSnYAGjcqWio9jLeYljAba3m4Cq2wfTOyxdGfoJ4mdI96jiPlwb5JBkPqFF6Zf29pNtt5CW1fI9+5lN4dPY2+2w3bplH+ObfdR14rZ8hrMiHddl/c70NrjmbEYRYteUeqeEpYqcRUbpaZiUNHCdwgEF3iXrhYFOfh79yW0PkMML9jIRLioLsRvzjC40efJKLf3Snpj/cSZMlP9dNKWoM6QMrcecPslF8/+ptpNecJkBoasTr7bQyrMZErj/ijorjY7JjlC/H0+jEDy9/G7cheP/+/drkjU06X927HZzUz2MhukQv9Hehr/pXFBHXNIZhPACXOAUp3MjyDQBuZd/pdhOjI6yn18Y1XudUKT2RLZGBArb5hUUSNcK2z37zqZZopF+X8fi0Tr5+Kb1D3FKDbhlVJ10u64iE9kk9ALkpGq5jPojVOCMd6F5BfPsJaAOjejWFyMpbydiXRgNbN1Jg+n4Itm3i7t5fm4exw/nNUwkgPtYkEubgQax6YYzqtg2Fvg3QfT4cb6CQ+nFeqCBxKxvbhLUlWfZEbukhGkXif5ZE8nCnkw+u9MA1vWutxX+cihZ0Rw0wtS+2comuQ6apODKyyBDwq7ZjdxfAhnPAQoTaulJZISUE00hnFC1GKIbELaCJigyePxyqRaJAzY/a42VUg/H9brBCcJnuHSpMsXQXzJKwlK/0eObkL/Ua93jGil7h9nVg9cvW67Sf/8UBhCYpRB+0rDBkqOQ5GiJeiIrXhyBLfRZ9GvSomHIoL4iZo0xFbsddQQIvGBsfbG8kWjZiroomZq6PjGgvJU4kY2PHjNCqlb3pq9IGn2Ec8V27EVQqjRRvH1ypwt9JwJPlOeJuXDgmjkMdS6VMBRIk7rlhmtps/Sha2D89K9fJD4Dxh2VyT9KkpR3/cA4SukiNhGdjhnAaXaRt/PDh/vKQ7wWwnUeLpSh7o2oyi0hrSkZ3FuMNQrLJomxxyWlphCeSMK5P8CItyCR85MjnEUaVoXeCBYOJzeOcDekJ2hr2bf8prUX/eS3LWa+WuNOw75rkuPr/ygzRztEA+cNNzCjsM9lmPGaO3nWDD0FZS0am4tYuvM76Wu1VtUroSLBQ0tg5xNZY3Kq3vEgcS+TTalAUUM4SbuG5j7dbfADvpCENaYcL4KcKFLLchPVoR308TyyEGxrTXe9eOkz+ts5TVezVb7LtidpDIuQgW1AVZkOFiWHWX8F731ZhfPvtmJvHtJ46jIHXmkz+4FdobdWXEc8zszcqSx+1jX0gy4fBywx8kjUQbuc/QBFlxJf/y+1y1qThOU0JEZBJOmqFvARy9dO+84j9EADrdu5OY5v8Scn/ztms0Fj5YZsR3KCrWq0skDURXuXh9qOtWjbdmRTeeQnE2j4uCIWacjsxE5WT1yk9tqVQcZK4Z7QL0UK11hDJ8XKvndL9KUNtobbWANZDM8Q7jTq+RKeZuD2nVO4haw2UT3DbmF7Yx0u/H1kiEPztsi533zuxuGGrvsyrGnTfGiGrutFH0Cy9EGjk4MQrxDQ+hZzlFphJCDEkYrMlA6SABWPm2sZ3GA9Qg3B/cyZM0QDtsfFf+ubpYlP/CJKkt/AzXtsha0pJOLEzJtQCJa5xyQIqwaxDHGWiV+QfI2aUA88nB2w9C8OldRwCkNm9Go7JzM0GHkVyIg40Af9FaPuekYmPn1gVuwcRZzT45VLhaF+vGHtXCLDoBGLnutVUaUlvDPq1uIO55SopxpkE02qurrd30FcJHABa2G6sGacRih95OJnYte+8ZNTCnxoaBuAH8WSWFDG8G7wjZ1c62ZDJCfL8y6qLhCVYmImogXKSSVQhY1TDkdmHXGaxbtL4qBKK3bKct8mehBQMhgBPDtje2DlfyiWFNlJZ8fZ1AhtjoigwIYiRAIETX4UyK45ntB1c1JmOhnkAhgTIUa1s6YII4618pR9v6+ubIMdIP3VrzUP2pJZQwKpqDwuJMP177Ax+GfuJnLhWnLXo2f8dRTKc1+98tL70Dqm7uuiItzGWAFzFa+dicqQIFWBL3WsfG9DWvt1l82WpSxemzbZm4XeE25p9Ip82sF6E1f+/o42Sut4PLcPX+y1F+ERH3S1/ZoKOgMRzgf9HlIQ/CUSPReTJoflidAqS9SYuvw7YFAVyPjBNqx7tfwpEhXEAo9SQVWCKGzbVcxJ8kzPk5sP3Cum5GQKhzfmwBn5vd4Gp+ofqe2l9lAS5JFkseUCs0PgLQZkBzehUQtlZY63IZOWUG95l713nauXHMcEcoMBtSBeKUrjuLjp33uhNiUtCxILt+3bwgHBBBeFVPBg3iZpWtCubEUhjZt+66UqYwWX4Fhkpb714rAcjL5R5OKIIAq6G3pkY8lXdV9ZUc162VOSOV/EOkPZTnUWA0suzkts8fMak+BYki7vGIAN4EB/NgTzvwsQv9HbrwdE77kjaqXAdyoBl9KG8PSu8VLrFj9b7LnYDK5yummWJqmQeE79yfuJXOgU70alaiQH+Ab+dmSTDVtP6X7f6Y81d63nzeVaxKhWk2yQabQZamx+ZbDm58XOW9fHq0YOBL7wHzKiwOjiIQupNKzvZrXC5FPoqSGZzeK/N4VDEOFcd/UzEAsmUTg2TYLHMBQbJSOpt+VNS/b4Xvg47do4KSX24fFhUgJzSB2puz0tl5BQNoMqNiTV4teLnXojiAfkbh+g5+rFeIt7fKWE825bz87WrwBURPdodMR/rXwyf3Z3A7yHxRXUPzc0NkwvDtXn+KgB97Gj0IbXSAte+8eM/cGLrwTPSHMnmTn7K3ESTKPlrYsq0mK2l2VQa5xa+O9208liRcm6PYZkIkwy7Al9l6Th2cT7Z8wfMXYbpP7QL0LahNgwlXEnbH8c3kWaLoi5O31N5L9BXlm0V780QmRBnpUoKywW1aGtZx7GTDT6ItIfYB2+ulZIa0K/WSbu3vjgXtGhZ5PzcORzxezzT+jdvAexId1F0BOoBEIn+2cONcDtFnotztZ/2VW11sxDHh88dCDOr+j8s0c2PMNFmbJbKoacW7Kab7WcUYFqvrLgAIY4852D4xBMcsMvMJLlFG8nEjHNeKx8e+Ag0yABTZBmvTT8wxFeK/VJHOtPiJKARb73itO44DibW4D3oxj1A6aPBJF+GP4Ch8h3Xhsg6Mj3y8i6BuiPP6mBKmjFgYaRHtzXbi3I1GDHFo8d+NGj7+u0LV1x97jqWwKXNm2Sq6mv1gEA/lqjbExkhQr+zjeygbHH7U36qfb0Crv0GbvBbts/Oe2pOMuUFh6DJOwGBrNqpFbaNLCws9s1bnoqEJrRROyQN/Vo5cwx+S9GvHUEF0dECu6jKVUEaJXze6h/5AFxQMIEAhb3sTMHofe7N9X/sR6PRfjBc5+378i1jQ/Le/KD70fYDtUq214hX51s6aeyPfZMZcT6Nl8ATxb9TaPG2whqg0KtVC1gbx4MFgCrMB4kUHd6ZRSE1dbk4lngvdSshpktc5FpyW+ym5XqEitM3iM9bQPxu7WY6I/EpLr9uo509NihvMymYcvTfdkfs+pC1FiGBL6CZhqf3OWlBsmrB2aeJ3+ZzpoVFvm2/bDjY96/J+342fWi+CCehpHiZx1yZhD5GS/GN3OXkGVfKhVpWGL2GZCJ7Y79GKi+r7EpVeM5MQR03bqhr0fmxqdAgjWzr7CTTKz1qkadGHCOzb2fUMDzrmqXSZbh+yQrQxgorXxC2sARNmK5awSrE05f3IOwOcyTbZzGofLY/bH4tASykfenWzWRQNqCfRCqMDT0N3HyifoVxNDbz4UCcIr/qGflMBWkS7d2fIIxhcncZ1kJWg7/DnXk0c+7QsW1m72iBMOOGB9IC57g3zTOEy5RfZv6fJy0hBIBYxmh4w50sjevgWkqQrLyN7nYwyXKIcCFLbTGBihtFB3vqtJBm0dIuTQvsc0lbgedjT1e+uEDOhMox4vPSqq4ewoPY3Ce+16E2whglEtcoCR+yBsVNiGiFNnMlg7nsOSF4unSnMon78U0AJww6XNIIepkexEH6ok3CrSjg/A/2VkVG1Y/ohYJTuuvlDWibjAwS1hk7dM6o0hxNQrLOkD1z4wQepDwWnJxNcEg6/mEHOsBnZnFqTGOZmZHAOe2HrJU2QIwprxM4PmuVEcT0Eu3ax8ojb2YcCYNWia4byQqai5jJYMHWj4t6Q6J9BzEKALWpjAXH2zvRY76CAFl4FxkUHxcsv3XhMr9bBzW4PkZOjvOXKoQ0xXPsZ5hY8kRNxXs7HF3x/A5p1erHgOtwNasg8TA70MSiXGrXg/8+CorZxwDb6c5CtkGSRiudGRUiGCWVoKuZ3X+o0zZOGSoxmrk7kvpMKhbHHP8OUv/jPnV1eNVrt6UCy5+v3bx8AW7OQohJMdaRW25N94VeR4hRvOiEgoI/aDJTcue3qeRX75qqZ+S4humpFVU2nzNCIfgzIU90oT5LzC8gPP+M4ag6rHBBr8N0QZHvnx00uubFhBXoRnharH6g/uQnQ+RdZsGQPrO9lovZL/+ZUyrOBr6jD8W/jbmXqA/wSc0/MmPLMPU+c+17udPPufu0gHeM6VV9d9xbtvLpdOI5Gv4PbvWAoGeqzgh0XenrZ9+Boyexc99I65/EKDw/duZowsVJeEbHfo/yuzWAGUrVmC9oq7+SPC8hmVVaQrddkpzcAyCeg7fHIOocDm/+zStGowzESqAp7zvNMhLaM4vME+4LVMB9DkbbZXvwtds1wFxx+suLv307kHb8waVjGkm0PD8Dhgs7/28VlCUnN9OW6ZOw1EtufXUBncWa5iTn3KYbhqHvRj8D1/WbFtFVgDLqZUmiZaddi5VjbFdevF3CabT92x/F4kBMxpGSOHkBjzpvXBdV85CxnuuSJRZAwnfU1hrGfRgF3EY7Jqm3HyNJ+CTIQ41cxLSJIHhGksgjubiEe3+oFd0Lm1Vp4aww+TATse+IQHi3cYSC58BqpHqZd3WNoGrBivzYcsNqf6Qg50NzCLd6cATzhDR26Vvjg4spuJHcK+m0h/IXEl3XfjfGXZZ2ZLLvIySNLjfo8clvsFkeXtttHmiN4hXZLh8fviIrOwVHdLCF6J0slXwJkAnboQYMEjCNm5aM7p8Da1IEMvkRPTAL84MZHVkRy/s8dDzOUsbcF3WJi0hFhvzZ7kc9cHLsPheFfpR6o9Yg0w1tZGcoIWm+CInTdKiwWmEo9cASSIDkmTKLXKKuzcOZSYjkfdiffkaAsGEJ2G0xkXy0D+pVSCdUMtegD76REm6dE7SuDtK3Zi8KcBGdG3QhwkH/XgzAh6VL9sBEMXFqHwdVErCv5Nr5hzhtgEAtsMCCu9X/q/2EpAVyXhtOfP5ehRyDxcp5hlgEtOTk9IWf7zVBIkUxBuZEDfLMFPtCrP4ux1JMivyfj2MDjg+wTly10awvjoJnMlNgggOdGirEavxxNSnNrUJ2O90Cky3tsjj/KZIHNry4F0iS7MIbF+G3sGL+qNk5tv8VEbQofaMVfBKmiLo+Ddhbu1NDV5/aE9JpiGVkuqFLs4rvGlieszAZ0LsiqyCfSZ8p5KjaIjijd8Ihna97K+oYbHWVpqViRqx2AWAcQZ+9fTa1OSYVDCfsZo3EJMwMwJzKVrIDKFdQT2ZIFNfADguB6MvBu7nTnd3by0iHddxMMoEZ4cLp9evnJ7yT0OfUJC5E+klZt1rgyMPTAm+DEuVnPmfilGXHO445iPLS44wl0wwr8XsTmjXHcj51mOvh6dFJzxc/ewJQPudY7rJat62KWpebPQZqt6bAeyOBltM0pDA/ekG/N5dtbLFPnyQ93JlQLZS0GpUi9hP69/ck1FPIkMIjSW6m1xLl+cF+pcz3BGIN+j+47CVNGvFdCSODDVKsrm6hlXZ6CERUmDvHGXv2eEGBo7gY1AV3HYJt/js+bNuQb4LNC1NEgd/YGwR+bFsUWDTYrL3x6fr8rxyB1c1AmHPdpFbNwszTIiYDmcutIuYvIxWDWTLmuYqMNJ6RbJwCb5Ls43TnSB35qAImZU439ecHjznFk4oS8wugpTJ80ipBCS+RaxaOSEHci9jheONmhcfoHmQLSu2zs5TdYvRbEli/HJHSP9KrczMAXRYv5i9V0sgXWh08t/AvUWtYd6OoaWcZYHpN4vtMtItut4KWZ1LIyXz+UL2Cv/Zzjnr1VetBQC6qV+O1NNI51xYNAjrmRRvFIMBXR0xadKCu7HuRARRyCBBPBQ8vWhn36/BkmnSimx57CYFmxwb5mBdi0hwfBUMlniSCqMDO94IegdDqEIpUJ1uP+vXlESJ2AW5ibWL2RocLKqYrDpkUtyd3fam5P+UFAchpPYSR6/JnXfpxqDFqZBw7dJmQVZKrM80geprfG4Pu68EUrj0rz7VWvAdwtMUo80j47U0FAiG6x9nEz1GU+NRZFQSF6uf1CM613/HlXKYnDhMfW11jDejbS++G51RDZXK4aqQAIR+cTttyrlKXeoMoL32MvuYrrrCIIFQSbYsWZBlfqEML6y2dLVRScfKY/ldwQv5IkZ6FHP4KGOOwDWHVkkLSgm76Itc9taeClfaizeZDxfc1RoM6xbB4yxieFSyy7tNUwv8skEbLHrdhZXhG4aOaAnqc424HiZGLqmkuQM2uWLLWzODMUHdfAKYsjFapgyORXfk7U1+zYAr2fmw0NLbA/YuZpA3TaoCcfADDSGY0XImh1DSLB0okFxSxZCXs8D6bX/2wJbCxqmQYWkQIitpLFQrHbqaACX45YGiKzpZKoOF2KXh9tKuM3d4Bf5ST9aU/PNr+co7vaXjZkI/5RfOJFbqrI3ouBpMXyxG5EU+9V5FLFAZNSy4vr3EMp2OfrasMn7Rl1W+IbV9h7y3CaVHIj64VkabNrh/yJ4FFJCe924Fst4RjUqVmMpEmFtusZLc+0q9nDJ33h+mqIIUHZFIjNrMiUxMFHeEtsTI1f8FESs70NufRPwJExsIEwETNpbrzt7xjO/DejoI1agfb1ApnWdad840HbIhHkmhQfR2qCDjA1iUeeefbPOjn3w3OumXl9KXDY4C3nP5msN9sULUd7BLZJJ/kZANcnOBdJ/1Ho+LLtgejqE+sVACXrkAgRzVeenGuPyxSVlgtG4VvAFoGKt9+1Dr3+Hib9JecJsSRQrRQxoj0e8INMcDRdnJ9hQ92ByujEaHCr3kc9DSp3WpDxjKTwoNe51g5eFPI7I7HnwE7BrvgKt1kWc1rpGJCCUk6TmFTHHnorPsdiaqqnDh4D3CN1mXWcDFJuWnvNX05Mpqmo1tiQuaKaECh7HwgfS/oUbE99br6yJximjk5E8ePPJF4yhh580QAHE3PHhCQV2psgOrvw5bKoSwSrFMJQ8SuvEhXsiRrJh1Y6jarKVMdp49cyZYPTPkHvZEkvMpHZZK5gZmQ3i9QfMOe1LM7BK236CZxlb47CqZz5dISkyMduT/tARW7P2074/FsTO8DUsDJghKUnrcyw5wjioSdIZNuLVxFQho6cRNqKfFTjk4dPMydV+9laPePklXKzBd1OdwCX/FtmZxzDL3bglyWp7x5lAgp0rK8rKYkzOY7k0JIZMnk9SY0Sngs8d4wSlOv3NWRsg/gi6cU8Uzq71PxnKaK2gkHKIdQEt5EnqTt/SG/HEyfkLMW1o0Vo5UfIi0AvQseU8J8jVv0WpakZtoCv5Ws6OG9YlL9J3DZ77lED/6bRPNClVi/wawM/muCzMuIW1YEWiodyMxrMfsXm7rAY4d5P2DX+9JBmHhWZud4l0brduim1RbFFDLNXtetuB6nUJliPE5InkW7y+m8vaoummcuWdy9fgMwuRxihLvKGHGMA9uSEZU/5yVcyT31chaWpfje+7DP+gu0I3y8UA942BeD5XjCwcLyzMu+3FzH0opTsHL3PNtK9SbXaCcuUVJjXBNoNq4l5d3Eube175PUf0YaRZTBNs5Rvu1ESNwGZ+cp2lhazQdjAJGeVxMP5AUKKzFKMqbo4pWsDUOKELDuYhjKsilEThZ0ADaMdjT/dyMeOmU2DciR0WEszV6HPfTYHdHNtMx+cItMyA3gTg2fEd/A6lY9HMe6EJNrFShFrAT8bnM1Y+VffeF1eS4O9mYnxsFhFWDEZF8X1eFmmDJUOhAERZBEdpE0BKkcToLiXuFEMAt8xNoRN1zkJl4RbUkbYVYmjp+0iFErXCzH89zwFRuzVPSu36wSfUbT5xXLNjDK2yQxgDmrBqSGm8U1Q8Y1h9XFC1xTUyqfTaVFKaQUJW17q8RUZrPm8aLn/fM3UzscFHblkLrLziOn0Q4rx65zmC91FnMCeA6TwESqYKBGgKoXDXME3xAAoDERf66u06h7wU8i5+PnQEWP2GCqUbQ6hO2UXCeEsfF2x5ppd0h3yke7SQgYg42SH/Aq1fvuD8prq1MHpfgCx053AWl/Y++ZNMyWf9bbqQdxGtAC2wUl25R6oUd+xYjjr7QcLnHVoy1pmm8gPPuMVVGi/w9txWFXrpP0QXx/Pwz0O+kaJu3vO6HnaRZYn0JnX028GrTymhBIe+Mq/0JJrJ1xWIVxtKJT0dRCSoXZ5f4uVt/+jJvIuvuwh65K6K2RF0B2nZJ1Zd5QfnzPiTXIQXHDvwhKrcQ2aLpQ/TxP8AFJx/yknJ2mdnks8dgCPHhx1ieCBuR4hf34wFziObYQs5En+lSTyiVb5b+wSZZw+ZO1mBTjmysSdyOzoth/QeqLFOxUBKD22rXV/fVwMpNn6KcEbBG7XpypwZkGQcfYGSsCl/TIhsw/iwgLD+ym2DKxAatfS3EJDdgwiz67UFYvSz/jEEN0MiDJOW7PoL6QZ4rpkx7zsd9gRlaD2uSiSDmPuLJfRQUWY9NCH4hydcs6WwB2a5smVq5zieI42+Tggkg0vbQtqtO9CY2a+8xCq+pF678Isbj2ox0buRna0ba46vO4b+nJds7KyPU0hmQyOYQNwuxASSBtP1DmXxscRFgwop3U0iN9kWDafGmo9K2Wky82bCeDNLUI4+7DIPuK5Et9Ka+diO++yPqIFhB3XQhiECMNyRD5XXjSTYwXmwNy5z48O0+L1/8T/bEWuIRQxLlSyg8820F9DMzUmCvFVDFVSL4nVh611dZ46X8DTt2qQnPU8GLRlo+eJ2kfb/VJ250XhqtlmlGLJIUGI+FxFOMa8fP9pvqKpw4P8tyqPcNf3bO2o6sxLCDKC08xb9wWX77Hz6bDo1zIX5hP9yRZo3jTDyVWT3DdmCTDLexIctlx/B4L0dvShZG9fwzXnfxcmLZ76rXvDjkdWOxcvB4qmbowihNBJyyUlNn/GY2GMCBUC38+wkOIDFtdB/ocCu8iPrQ1pBzfpMASRKXqH6pWL1qYoKEaR6Q9n8MUvqDn7k6gSHVxTJhzfE4Blwiu3jDH2LQ3I6LKzBPA+PP0rcZgusXDtH3sL0ay/cc6aqm10gNz17BsI3fb88SzbWfMwWY9jrXH8aySK7ndzJ+5vANJ6tNptlpicikG0umZgWl5kZZ+z55lEnHZwyO6x+h/IJQOok3Fok510gWqeqmJP7mO3gtDmbFLqqS9dVaWP+N5ts0vaAStkXUJB9RSrHz139/dNjXuFapOeUBfLOzhSNuYvUnP8nyPBIeSAWi7aTnkrqtlY42oi78gmI4RxqF6vHg+sfhGn7IoXKHe2jfEpsX/WDoIyvT4pwoCkp2bLtBE+cactTSibo1ZGrcHIBZZlxLPJO0n2IopJrXv5ZqAAgNxe1LdtvH0OoeAuY15BtWSwJTo9kFFCNL1EUZ2UHNMYzsQfByCNP3gG++S0niRw9PJaZBE6SVDyvVP/ddKVnWwjmv6Kzbz0m+NSY0h0C67n/obriz6NRtYpgqoo0y1hiT7NIsLpvbR770Ruwmeu+RBs2DjQx0wZkxfICS0PseCc6RDRl3l/gcbUeaexARCaWfJYeDwFVateVK53CJiu3qa4LvqIqOkniOnjdkhEbfIuiXbOLOoPJjbNyAIeLcij3kt4yDN7KM0UPhk+mGI8RdSRCOgo3JxJB8rQyuWt08vDpwDItJU5oB9u6Xbcr/q+82Z3JF13bcMb88d5+RcLI0qJJrifKGd0aBxpRHX0CH2qfG06UPylK65gNM6SOrfKVKLhZgwy4CO4n7JLs2ebFDoYFeU5fRI030kx/EaDyDGRP1Qf6XTIQb5BgciF7BUVOxfG6t7uh2rbqkdn9b9k4W8fDE644lL4c8mmOYH3oyFd5ZVevaoScVxsRcC1OghyiNin3yPu7v05diuVzjto/T5icxM51gTA93no2bc0KyPaQh5vt2Me/39KW/pkDyZwaw5wclqyWI6BLqW4wSyY6/6DabjEMoOwDvHkICJzSCndt+2+/nUOqDEsntPtJxkChJSlwgkvvjo64Iw5lZWWHxVD0ExDyOdBKjHVp6vheWpQTOgKl9ads7XN223tYuTu4DbDmSllFgs5gaN96qPcpNY5lA6C16dTxI2v+gOh4rSHRJgcuoK4B7CHdHkviq7maN93z55dE05j2cFCHsbWnKOB8NZfS1onhhpGzUNx/m4RX1cFwsI63Ogi0gWJw8YZWmMQ/21ZtpVONbjyhagUjuKHBUQgequZ/sGaW9Z/SdU1lb4ek1pTNQGedlr0Yyp51+PSW7dJFAjG5rZtiSmUzWvySk/P/gchc8q5zEauwRL2GoX14uolvRyPSSypSmdBABCA9T57ZozZAP4z5xSxLIQnM0X00bhd9eth9KZZ5kGhRjFe7JlZNuE5YOFi7nEFu0Ty6kbmNJKemGzZINowYm93+pDRvYjE0O8uMF1WTvJrWasmvx/YIlt9eouZlDPaYgXCgsEnHsUrvv+AlYxNutBgWRRUBkQUNT/x029qGdK56m0jVl1G0Hy7UoR2KiWYt7kXiRJZOnf7HoRYqd1/rgbD3gaY2hbWZRsOyuXtkVhNwRoUfX1/vXcBELh1nqMq2k+d0EW5uQ5SLJ6EU5pLXYmhXjaulQZCxIiJvpVFEvtImdRSoZB4QahuZyaZVyXbgjvPyMi4zH/lzHAw3wi1oxqnwkSbfTO3c9IxFRic717+SUqRFVVJ7eXvsBEjEDW7Q98Ebn6cfwavcq7OXMJHPi7DuDNuJs5H33ZaVY3OrOVkdEPG+nkRad7JV+QEuycZsl0iNoTR8pSAe82tx0GGWZAmdMBCqiQjsHsJa0vEeSSrKuiF6PobHf/QbJ6KkFdtNCbUsVR+bYHdh4AlE0ySZFrf7WReIVJxWtZRLafC3iAtuzUAP6Vi2T7FuYEEoa6cKGLkusoeeBb6ih4Ho81b+uRfB2WmrMzYnatooK44Ab4LV7yYYmETakoZoOy06NrOt/JLv/A6JtCwWsVLmBcYChAGYlDaXV930ws8umT+23DT3j6meTjfEcltKk+LEGBH9ZhZMfDI+m7c9A6FHmvYXBa2RZBk59JbnEFVkR9yx4jd55W+neSr9hV0YypepTFuITeMebuCOzMYmHlZE64At1dU1uy/YN+yKjMOvw98KVMIvzFe0q6RupFENWuySpr6vyZLk/6/ktGrJLhofCDe5isz3u2pOhvHdjVrGzfld1SvkK/66xoDKDMaHgDZHJZtuARKU5a3eRzuWhN6GINMiDPSR1zxd/aofZtsC2e9K4T/JRcDwYGx3f9l0Ai7Kia98Juq4jlV2ifxYWUxtr8ALiaqtNBEWmlgzpU5vdGHIVXVULPR6BNQUHCrCV2fxdd7uiupb8Rupapcaf9IxKWE0NSBKDFhs2aTgqrvIYJQFBbsW4/3ua34hUxlvPP8RmzHNIF9TBz5I9Q0qyDmB/m9lW0QtuajObSDMXUWI22j5vbLra3RJsgY5x0OjvTA1a3lZHOAwULbxnKw2e5/k+8rwQaVdnkUc7FzI81c1w3kNb/cuqtgl5tIX98HrFuoGcAIBttHzUaG7YLg5CjQHVxQsz+OhQa9xQbTjd9N4+xr4N2TKas98zMqjaCL6FFDADVgQtkI5NY86Io6BVqiwDDLi0PyNWMY8UsFFcp0lRL3XZc3bg6To7xew4MtHsHqsmQ/g4a0lNafdZ0qqucUdpyQuZdF+chdo8R4neCyiB/gnuppUOD/zitF7mJ1R8IZRoqo1fT1S50GGJXgIge0JuWq/ljDO3FFb/xkXmiV4HSv0gZHZThJMtspXhX+Wr6Eg8Gao270y/hwC5+dhxZ4HPKN5hWIZkoQAF0MsDcWRn65boxQkb5B7/lmwOODkcz4UB6EdVdFES2mEsgEvDi/8wGR059IzKSQHjqqY8bWAYaEx1emb57BO0Gjos2EA8330jK65UMEGtNfQK9GLeFDZ1p1RUFAaYUJfNh4bInaPIvx4ORRWq218PtcrXBRdoylevskZZ5Qss7aqg8pSHiXq8NCZWTW3GGpej0wy0k4Bl34leqtlYcSAaT8yCfMjO6Q4OPQd5qZXkfbfDfyqQPv0iTF956qiNKpoYSXfqfq1z5+wJ2chN9egGMxFEp9iY2Ama8FNb3rRTwIHbCsEo+nh7IdMS1cMVH5EF2odgVG9sU0BQlki00UIf0LQj/he7LMYLKApJLUYHheCcVZb2emE6m1hAP9RTWAXoUYsr9XmkZ5/G+IWErUSe4ePwNAuv+KHgZv6lfOJ2e72Iyoxvl0B/A6KZKCIZOAJO6ttmQSNZi/K2ZeehHGSL8F/pNHEds2xC5J0QktwSYRhu/kOVkJVmxp1Y8eF3HBWnTP5PCaMrRLRjdx+fIYL6h1c57pdYzT2DOdlC4yqJeCeV/qz+g46/VVN26MVFaTvltHR5I3+ccMnHZqKNcrHan00/MPNNtBkkoVuvBHr8bZaW/BzYqVsT5eN4yDVTjWZWRMYkL6ypInsEfH7UpMwvgQjO82M1tTQZuR0jEYnscbkV0F3OoiS3I26kid2kfwhZ8TxDBANnUHteXlGmqCDYRmGALmE5O5Qfokh7v1QJA7jf+qynwfyuNEgVuYQnMxAux9iI+p6afFHoku/ltDhaTjTQzWPA+g/4217/SPyxrSe6bNQEn/M1pkpfidqJy0uytbTXjXHjkqVvXOj638XN7fzJehM4LByB2/26TDWY4zjCOpuZqQrNNQZ1IxNJNwp87QeEWGRhJKh9SPf3M67TITDKRHzivZnpDD77UtzbX9ilHr+Q6ynjY96Vk/LmbYLd2fmdiztz14lXQyMmtUHp5lJTua8KKplE+L+eXoagxYsyc8yIpwKL/DZXXNMY1h5DDmFqdo94hzTUbKpjkxEis4CdNKsfwXuWehftyl2MIywO1w47pFYuBKfyoRPVN2qtkVY/ZHPgM5WdANa04CnU5Mf+yDQUPy6rZ4XeafzZrcA0kjcalxoK7IDA2xPFM3eOa7QXk8qG3kA70ftxBwMv5x7thTOzF2BSguDrKPqffE31xDb8B6T7Z7IprrsWJR702sg7eueNvipohfRz+lgrGpLgGJSmZO2FFX4EqubAjSRBgr9WoffiNK6b5rRYgo3ya0z6JC0PsPGNIkkt8HRn9bLfuoNNbq0o4SBIioX4Ik2Ayu+FEvp21hcPipmiqFt0xVnc2+sufn6i5qiMgyINH4f0S9Gw+XVSSawpJivjzT11cKF6NTZcFN4P0Km37rvF1QM5OA8PehA+ad+gELTjwIJ4XlYDDge+TvgeLAqwQgD17rdKVQ3lQK/zTyFDR8Ntst8qz8ZtSm/9rZ0IS/C2J2zcdarZarcRxtK6vKLvAw3SbyVjDFRRizFO7uky/KvSBt+iK84tX/jItt20hYPdaNqaIqddYYQqa5JBBdFJpEGC8UB7Lf9r6aNdotaESeNWEO3vr92j4ZiCnbOl62V280BgtL6hwbwBWWsz91uD+VaNoiC2R2uqy+YNU1ArtmC7gUxAhvDYzgt5zLlO8Rocjwp7gfAwdFjopWc+coj1G+e6wsjHwgWq8i+c5K134wed5vmFtRUTEEJpDm41dD9Jh+ZMHlK0dwhk42YH2snm7MaNRZJQXGL94Rj6Q9wDQ8mrfazNnYDG3d7vm69b+U5jFzhqlZrGrTTr2Epwy5FkjK1c+z46MbQN3DZvQ1lJZG6bqko/59JeGtindJEhknYHCqMUGooVmBEujnl0Y9AuK0n3ozydSoVQmpxdddGI9CPL7LfGQcn/WCZ6modq10uLN9pnAD7EUIQZWjfGl3ywEF6NiOwEu3LKGtNFd/NuEtpG2GVIjNj/ziLpD27BTGlg+cvPle/5Sczr/TtK73auRH4V0EgVfH2p7CUC+28T3hYYjUOvdEtmrHTs0oTi9g7uThQZiCl9LGvEu73uREYO/x6DR734K2ZIKop3JK/YhUg2sCHvC0s/4F8GDxO+SNKiO9l+mwcbj9uS0luuuf1UidcTZC/o2XvmEwDhm+rHTSqpyflq/6VSzaOrdr+xvUL9B5uSHxH1+ub2urWxTtnA4d2qjfZkNcZGTb5ImlWkLS37xl2G06jVL5YX3UT0kBfH8Zm97MCJS4vdw1+jWy0u9MuQew9kbzLSbsJ3EjIbl1ZPB+McLTZegMcgk3f7csP4mnKWpaiF1ptaMKhmHo/yEnn8vWrU5ooh8qKy2P/2vO5V+xFa9JBbYtrTYttjRN+1ddSlikR7Xo0sHf8ydHu89OnWZKkOGtawirVNGpCgeUCFwp1qOOXRkl1QFTbQQ+4SdCXFUFMUK+XVAla+ojoNQ4TDDx1artlTAWwG+l79laacKAa5LTMKbwBVSswhbBwtGV1HJe7HPlkBCgTBTBjBMh5d16QG5at4vAVREoTAGaSfFGznKZvd+1wLZc6GT659o0VMTrnic/nrTqbW+zFx9n9np8BNMorSIdEl5A7lMqZq+xEJtcllLOmSvrGqGUPk04cwcQN6tpJza8LMbC0PkqAyi62TyH2+Q4NC2DQcdo+3Cl8XPXPVy+B7QOc1l5E7YCCX6gJgYADcQMG1x/22O65yMzrz4yT6VS/tV49jk9wTkK2fo8B/pi9n4UMF2cSL5ssvDcw3nsGiFfW770vYYnfSgUx0OcZ42rZJzf5pdsUHI5Q2WcslcBuLWL2NYWlgavaapDIxRBRjlWctcMDRLWeavCLMkgZDJo3RJ700V7VWdIKmqOsGkX8fX4ul7NQsFLbdO+ka1l4ok3s23ja3Bd+JtSYXnnSV/SXt2tRioO5WJAzkdMHpCQTkg88heoJaxEr1BzIMKasQtaVLh5XhXwCykP/2vEpD3ZAjma3KpZOl7YDLVaAoGCKDXxOAMYLUlE2I1P87lBp3cFwNxYGVh0osTHfj29t3s6MJDmLH/Bu45K2eemn7e0/YPYjZkikn6IN/FpnUWDDGKjO6ao/nzGmVXY6vmiZUNoYzym8nEU47ZZppkx0byfOK3MDIc+fbB+U9o8gO5MITGOHyXD6fpS+DOeYx80gzfd2ZowKsMo2TqJpbPQ5kYRRGCWaWMfMZhszT7DX7uYAffMXYnakwiks0TzSVljOkeHOEMgMclfwPOXfeHHeqTGieG49iQ2a2sEDw3DvbvB1stUYvZn7CuAeUWgJmgt4F7OKgUfkK9ycqP07M8xpjSE/MW3NYKntOrWp/Ajyplgvw6yvM98ZAETE6I4xPuIV271LhVrXIE2bb1RERmD7HgZ6+Z951kRFUyaAlfqHKfd0Y4Ersag7MhXfjgEloAn8DxoPoEhJC0anPGZl7/rdRylc1XUSp2ROrKw2Jyj4eVAjZ9JLnH++10nVLWWNCIIM6fxGjr6lXhl3H781cniBeSIQCqSKTTVre303OdthU19dFlMiUY0L0Gif2w1aQ0pLCfD72q36hu8SvtQEryMR9cU+BjoWYwxuHnW27QZX2KkrctThZO/O4+fTComnpwPuDkYvO567JAV+mP9rNM7Tx7qTJEyQsrHDoX3YTfFOCWq4lPG0VJoi19MXSAQ4yw3NdScIef08QUiQfKZ3dDrBzSLMjyxbxLsevOx6f5nbJOdXW2tAwqPVa9P5Y8Iev3chZAM+ud0PZVBrGeW6VNScdZwhqkdNMsYIK5impnb/mdFlJyC2H1v/uS4iscCx3aayzbIIUxc2AJPt88eQonmALzjOoFXyB087UCU/9DOnldupDmXCtZ1NG/IlDKjUGOnbDolSXaOeRIE5qjUKZet6hhrV6XTGHMKQ5BmWqJ2gZ9cg7v1nVsHrbXYYP8SFZaOTljag/ihEHZ/kebQmxByrYNcErXGnFxKVhaZChkiocBzL/6qiYsGCnWR7tBuBEuMY6sqXqR8RfurTEJ8eSM1AsSutzwZwn/8CXqyA7sb+Td0D/9LUoXXzfDYeLN0KpleC4f12gauuwmuM2AtHQ5oVXhvuLcqHBv4r/ahAFjfXWL8U10nxK+3XAf3WFvyzamPj2jxlBJ5QVmL+ir0Xfdiod9cnui/y8rjOJAvU/pgQKdtBRXOjVlN8dc2xh0jLG+gIz08VlCjiuNg8FXJdQ5fgdbhYDR8cdvWVDJfiIX1cwvD95obKaoFo7q2sQL4dT7nyhOCdeNnJ3PWIhmABOH84EvBQTpLQHexMyEerGDxkExJwWw88ORHGvvWECGl8SSNIXhDA+nutgPCHXr/ysq6Lu/9/DAKp5AKMz72qw/ZV021mLlgXiF7hxulh5xqU2NSHEK/P+EoH5PhvvbTDiybxJiHiw00RLr+vcKW8M4Wct2P6xhAS4f8dgRDt0pj0m9MUBE5hOOrayUoW7ItZR195czveqbsB52sfoEad8+q1/XIEeiB7kg2Efc+OyRoUlk6uHnPzi2WCYgIv4f8TPrG26mWBJr0fsQdy1uzKj8zK8rxvW3hFWcXtJDuvMdJWTqlBE3sce38UDde7EKxI2SacKabdZoMEjOaK90CA6ARFov/O6FeO8o82O+/1KN+rH692ddZYFB5ArU8OrviDMWilb344tjNtCPECxKhANDk1Q3+9jvPDF1y+OYLa2ASoxTYmm0ekj5tK3NVxt43LzKWj+esQU/jJGqGFGQSwdDKVp3B1IwNgcRvJ7Gg488NOqPJH3Vbni+K+FSkjMkzR0AfEK6ioAwWpLP2icpCJA8zpaevqptNfX4uGfxpMKx4Oln5V8dI4mmnLJRMwyEW0j0E9orVk94mO11QyDsNpP9xgaHZiUOTyzNYPnV1e3JWN7aNl5m0ai7fR5zyenJiNTjt0L+hqdXiEdsGsb0xmsGMWyOvzA0J41c226dr8UJN2rT8fM/U9QBUg9/wD4vyTQOpcMzVgb2LBr50O05WoznPG6NHezK1SvHyvvyHNRsVBjy7KlOMpV/Ojsi3AMMz2ycZd/xrIRPPdyWAvBFPKpVRwmRJ2UQ0Ih7EIihm3dpHQyGG1l8nCvlVocVqT/MWfpWraKXC/41xWs240Lyn8SZIhRgkH7JpQzdvLxNwFDhXDGP0xDIP1G1z8Bsm3bYdG/AqCrGCwKAZhDvyqAG8Flfir09AsobkjKKSWVYWvInUU7vWFRuUO75tRxm7t5mm/Ecu5BC3iQZsYgJL2fvYRR3Q00WUrteTDS0KR9IKIc4fluItksUF/t/W0ATkZp9tb1uLmnKeX94x3jwnBMC5cu101rYM4cieIJCoseJDfPR1QU0bqej17b2D+OZzb8bXNOc0oxuXNIAH8mUeuiBTOKEF5D+9MwL4RD58VGGLar0kbVfR4W0VK+XvOuLmnMwqaxgoyzlNYwvgdSlDoGwnuX26Unh7J4dcwvEDwsDZfk1lv1ikhfCioeDu2WgBElkccTpO/Ckr8Y/4sVAzj4iWk2d5RiOVitKpNGXIjXm5tb2VqW82m9CYJRBSY4AnV7PmHYRp144lasglozaVCavKOma5xLZUJ6EyLT5ZXRJPsTg2QUGidB19DgxeHGEVoxUIrzOmdNxHJt5ZiUd9ygWsrJyjGGv9BF0VJiAyo6/hFvPWHR7cx8SNL0SxaGuePmoLpXvmsNzqdJjUsUKjmw9lQG4o1QCnZ+yS3UrEagQLMPI3GVDgGiYfTey9OvBJQbteG8zrIEfHmnT/xkGbbS1ZAxv7eFjclRri/8ctIO9IGN9WF+wWWGLHnxeDbzZD8eIcPY1rE6noy7oDCrgc1d2jPUWk+ZZ1Pjrpn4a36qRexcV8sbnR936UDhkOKnCTFZVJ7dOnWyPTXDhYvUpmRHOJ8Fjp3agF7nn0LqBMnWbX/7MkQIE9iY/WDh8Y5ML4c7dfoFPljdPltH/drCSV18Rjr/H1fmekaAiyhho7kaRRWoJCb3OP1ti5aJWGblVLKwSPvMIGAjB10pTccQF9URAm4bTb6SzO9t6Mph4jFKNj4fbLDfo49cnp9J0wbMUO5swFuUp5DBejiTuisvBkUKTsS4HH3XP1Cbd9FQzF5f166DAE+HfSxr+EL9F4PcBMC+/ge1XDPE1X5GSDw6F9GIsTfnOJX4tyVLHhhLCP/JeqkL0jLaBD4q7FLc6fdEfzkRjXhLKeAMW9s+ivGkw8uTkVZMVOeMZFamLT1uZc8bM8yZb6ZCK0G/xcSkNU4QhTjnY/YzrtU7Vo8XW6TxfTNcYvZlkVZBV5CtE0oFB2ZEosDoVA9CZcqFKcM0+Du33FyyGOgLmDFBUY3cL6yMci93COVRenfyTR0WAXg816WtgpNOzWriXHwt3UZUX0zEwf3Vcfya3YgeRsfoLhs3jGBkUtbjG25CrR+wMsIBQro8lhr3BBKKACMRUbWqorFC/c7cZb98z6szAWOpLVsWYdeU768bK05ibJN9DFXtr0h7bWO8fbkkeVGzYRgZN+c8w0CUrXOs4lHTL1Uax/sd/JVPVmnwed9TS8fKztV0CxJa69Zlo9X9sn4BK+x1ZSz+GzXDSjtKCDA66ACtG6JNERqZsVLm4VTHkmCfHEre55/md6G+p3qDhgEGiHY+wq6hn107KuxblfxlVWBAOpWl52zuJxs2x6kHY8x32m0HUD72613TrM27qnKpd837XfW9nBtr8cmrW7aPbSbuT2VcCl5T7LbYaNWfHp28Mpt/HCTv2U8ttKX3VbFclcVcnTqkTM2yRJLQmKuejQU1ifGPQpwr1WZfrqDHqIBrv9mJTFDeru8JmSLguejRAznukXqnEOdPKG/CIIM7gRtoFAdhabEF9/0iTatqMC/a+H4PVLP+bzXcstUQ2MTdj5QSBDgof138GtIuD4gFMW31Y4j64qrQZfV3hQ4CRECpTRQLaKotBvfEZyh10LZ2xbgsBbcrnnrfOyB6g1ERr6C1fhu2UvPXLv87Wu4A2UyJu+XT2KiShPZc6uRwiZSm7HLcv7o6NKOGYmBlCNB6lYEjXwF48OkdCB4mBDyR+EOpwCKKoVM/SrBCPTjZHytn7MO3ddT+XRT5mhaoc3DC6RiFxdyYfIa3hKmZq884mK9Iz5NZnqjVEF5muUsE9MNqW02xrdpFer25OefOMaZDk7wcXTcEoQ2/seOImJUMO0k3bkDQZXhhsw+/kYETsngCfbyS28nG3wVgLhSc1nkAct5AuvwAPloPGmD4oberzCkkaqEuEgQlLQluipF80WZYPW3L6A3zt6jhE8to3zPTMaYpbi3X6enq7DvUMbNel+P67GHvIr1VCaoUrDkAJh33IBPusOWL4hnN2cgfEWd11c0714D7fZp8se1MGphZMx61oA5hhHKcRb5Tgx70Y/aaQ6qL8TUcq2+uBut+PqCr5mwrOjpnmzKLBzn7pL9SU9URZAohcsIZvtL1ct7kwIt1eZUP78Lh3hucmtCKCXneAFTjNlYVk9OnUvWrl4MZUubhxjzzxMeBVn6zByhZGRONVFixRvjPeNYiOjwIjKHq06giN+6Bk2OF6koqChBfh9uCgm6CpXFcPPTeRwmOtTF1MkEzu26Hft/qRjS2ZcgXI0vei03zZjhY/7a6+kLFaIsSjPNV/zRPP1HubHwZnT147R8TaqrdoMfMDiAW33EA29wxFz8+TSf4/cGnLlp6CRqbD72Lt7yHvYwhEg/PHB6zyDznW/en/KtRxnlmrYV4kesH8AQ2iVjHRmzvAXGumE6u/vc/UnV0SgN+TxSHSfsabxOjUG/ui7yn1x4j7BiTKDRcGNJNcI7WyByhBH4W3ZIc3cabCcF6V4yKkEjafIpGCcujI1DC7Ea0MsRUUkULtXbR4Hs9byl1u7s/2ny70kQUmSV8zBinri32MkL47gwZiZuX9jOzKu/TlF92OoEKJv7mYNJbmn31Vy+qOJBzwRyCX0wDPICy8O2nwIqR4NzMX7Ci0y2Je0ehEEKur3/UnVAENfPJQsLx2/40A5mU7dlCoglKP63K6eQVRh2xIjKRL31Y0kYgndQEW2QTrdPo08h/7nVL35BYDApvPdJQC1VtnvIYwdelmKJ0kav/s2PG3VGerHaljskbja1zkaEGC47X5+SMj3DATpoi1EyFvRt91GX6w37I5IAMSawR5WzDxSGpZtb/woX07YrQmlbgRaoX0QWvSJ9lw7CEFLPe70Wmd2+4guZmrw3xlz4+PoKFR00gvgPDd05fVbEwdf+PXeW2qWgcsIlSX3J3QxH4POBksVhVtXbUNhp2vGL/bzIWCNjcFrcKQO6OXuFlXMZThkEoEHLMq1wklCPORLT0OlQe07uPJDrH0cN+R9shx7sq+lOeEPwTu7rxuq9XEiiqeDyVzlR7v3wgIYxmPsoMfNquQJFDkSLXny0wuA5Kk/CeZeHwfknWrLLJNHPcA2WR5o7nbWakr1f0nCBt99BkkxrG/5qYDNrwF32F+bX98wn0ASbf9knhGTicXDiUIPr6Lh/6u+j68EpsGkO7KZDEfthfoVDUNhZBxITqPvzSVsblZFHzegF4L5TgPEW8Pe4J2Vz504zuNVcR0qVaGE4oADbakBnnISEOT/xHwInz4JmK5GqOuW39sLIesUaK0PKANiFN2yF2GxAaDA4OVk5JAn1rxlcaqohD+yM1a5AeKw9dbx2EG7+5tQRnPz7Sw9tQzKvrIaBmKh2uKKj9z305aizVjfihQbz1DTmUao+8iIWyakTwybA98reK3wal11h/NRxnR1weZjuYBi5sAElIxgl2sdb2+FfpGDWthlibogCI3nrSPEz3r6Ytak94XNAQLWQLulebtVNxc8Fvc8XaN7m9v4edAxTr1/y2uKBIAPqnVGpmpolYkhd9PvzGv9dFFyqaRrcswWRuLkPIkAgV6lS2lOgZrZgu8AFAwuvAEdU4GCd9DQMATUca2SwfoAihoabObf+hM7s5sVvI67WjdnV5HX7/K1z+5aVe/fx9Hm/7S+weUvqk6IYxKewoEN/adPsAQJU0wqO7gtaV7LEZIyXt7v2bUP3Zs/m6aHSV9Fxqv7ps4/VNAFo7kN+uAo67MvAec5IGxDiEKP0wxPjI2bh3G52ko6FcfiKQSGf2CInKs8wVMeK2pRY1PVyo/QPfvN+9CDibvStczKTb9K++/Tzrn/T7UsH+ueMq+lTxx/iG6qZGb/GXxMY0G+wnuTe559W0CO3IBtHX9PU3SDgvf+Q7yDgJ4HZ61UNWUr4m3I71GS7WyMMp0DGL0CqkCiHcxcFzf+YNgFyGc+TL5RfkHvH0S5LD37593z+OP3hvVGpnqu1TVXn2C4AuQKUhfqWuxKL3HjTvKw37RDNzThuJH4xEtB51wpCoKsbjAMrTBXJbrAkqMTOsVwRx2pXVuAr7du8chaebmGLQ2N4zUtbmHfFOi1KvBz7gzujil7r2+MSQb2Pgc4TupqEqXylaUHgHSH49oU61nJTFVK1LySKCOcuYuVY/BSa/H9myJIw3liGlKxYARWWN/EZTUaFlJMdEnBfzmmd2Ftf+5uCIDgHHh7FPS1V+R+gIS2RKw4VQW2IaiJziJ4c5A4Bx0xyYnZL8jnK09Zj5CsIgQ2kAGNn1rObPWPW5t/4YvdNBWSMnT2BvBdYQiY86nmR9VPPngLZOdszCFJIgjnQ0S+OdxW/vgi6cvExY06neH8TedRz0NaU5kUWtHbH+Y276evluSeAZVvMdpHYjra96JLTEiKgYtxk1D4bDCj2qwYaj6Fpk3kkxs57Tb8BN+Q3SG79TIRv75WEMSUDc6HmgD3GDb1bIp3O/bONecMnmCTNBvrkJzmvgB6tyj2ZQGLpk5k7yuloRMH4/hhvuLM751ys+SNvWSoo5+WKHSe6yu2yN/GLhbFWUB4bPXxx3k0wlo8JDuVm0BN6Pbi3Lz6vCtHYdhb9TSvQIzobVMzxuppbe1KnV6ZbRoCxQcLg4ejfwg4excMDU7XxK7ZJjYvRjSSCqb8e+c/hRJhODh5dEXBQWOuz5ArvOjh7IuQTyP3L5LKhznmQ5wd7kI8zD9O8eoHqJ66DmJecu0AN+thUbAstC38n737Jewu+bfk2z9kraVLw3wHussJFKa5O4N5UBY+auQQ4Dh9whmXZe96nQNfG6yfrm3p0sKkVZ7X5mTUBhTXMGa+ZzEuNH0tgOpg9ntGTQiFwdX6kBGTCBuvhNO0GPOenxZ3MCZ93UxvLefspd6tC6zqcvH6TLuOOqI1xUi3HSJueP9/+0PclYKfqIjkzA7yGGDFl0WS9yJkBAv8H83oMXiJyHOeuiTZvejDB9QHbvy/LeCR+MbMZ8v9Meijl1BgwsT9GcYxySIt0Xtqq0S3SqNV4tlaDkde0OWnen20t+zhlwZV8Csz4mM2QtpHPfepzp7IB4sBviLj9g++QuvmmEPr5AvOBgzOhx3lrc1Lg/n20OTLLwiDHLlXnbwZabrjWzFOIzUBpiy+wIl8WZA4OBp4VCtRJAFmkvjTW/yJpHigbY9nAVEI2IB2TTcTvpnAqx6Zdx23klHXetb/yDnY1rMUZbGS3aaCwDQrHRT5U9w8by0ZJGVGecopOWRInuLnSJ6mwPmAUJUkHt0idjVR6SfLCWXweW2097dTwcsHiY6VTQJRTuDFw/Fya0DyZHpj3+qP0p6EDu9qqYQAwNv3+KajR+AsKQhc9Y7LzZqNrb6Dd14VRAZS7cBsVT0Ue9F8ZLAcg5Y573VnNYP94iFQDNQzEYR2OEpZ91y93G6eNlw+bddkkBeIGtz82rTiFPmqh3mzV9E95NpQUFjOjKtKKbKok5UaMZb+BmRgHPeXwWx1Fk2fgIHgtGCzlUMp29v0pSsZFo45RLyufsVskbB/0pn9kBTk2ngtCfYlHx3adFwN9kpvptJcIwICRB7HwXgDwKGgT7EyaUSsDBdbiJd1moFyXPOdQTFX8KEK2N7tDQJlXnxcSe9lZzJpEJREIS1vs7Qovq3EUSmsm7RvLFZfkTyfj97FKD1aR04KdQ74oOm++Q3iLUT4im1gqu8a5Ka8prktUTDoxBXYu1fLgTMhSfoOIug0L4SH13hM8AAPNwk2i2+SsgFE3wNvx9vdt/W89VdrZYRVZSSvSnImznbTctJZfpurxMxJoHQkhULDSOSXNDMWEAVlkNs4kjucyU4ODajYJFM5s436PxtpA5H25mfhaaFd8t8UfzUa/lL5Gav7uhOQX42H1g8uGJEOEq7WDS8s+IBmzcwr1I5cL2ad0/WIkY7MC5VgEm9hiyxFhL9/XLnvlc/WR0RZjWK5s5JwCYeZ/S9jG6dJuwUB3jtf/cwMzxyLa4bmBS5SskVUk3wvVaxrlBC/zKE9OeEBVxK4n3VGwBqrtrYHNNkXlhxnNQDBw5l35ct/iRBE5ID7Y1A6F+CBrf5N4mfQg4VOkge7Y3Yy2XEJmVoP1lCVYydF9IJQMVMzTAK5y9+Yt2rDDlv6v5HtNGTkfhsFVdy2XMP5pNPiNvj8hQp94kUrpa7WD93/QRsF9g0p6eAxRuBHVrl+fYQl5hWu847cGMYg3es+/Msxb0ROGWQ/XPF0LTDhUz+FV648agWUIrSev/FgHYyPogdd87QhcpLG06wtHjELKnwWTshp+ApAySf8o84iES447Hovtl/iKd/dI8GbjBf104tO4kpclw/JJNQ2r8P8BLsPNwD/81c/XSYOXlci3VICxUyHaq2DhD7dpII18Z4aEV9ZhN3Pl+vv0myqGVueGjt/8O7QraWtN933KzbC0DSCzFZfANljZh/PZLqZ9hE2zixsy2YkfSI0iS0YSk+HIUTbxI45IOMqzynlD+SuD0hRumEHtwzsw9j9z5EXuupNjY23V7hcoykMbgQJVR8iv2QJwoG+j0cNxwkuJkyUYUo5ISFpOqlaK1SmEbmXgupPz77yDf5k/zXHFYHot+8NUgc9VfBGOsde9npnOrPgOB9nXtYR3PNp8K7NcNuouwzCDuOztPFXWbhSONRh4l8fU6CKLO/SEqJXIU4VwIR+W5NhZ7x515G/d9jaKJNcKrB/Fo5OLduALC+UdoJoQIPs4PkJzeIqlvKVUAeeWEvFnP+rxMU2S2U3nomE6H4yXK7UdBUqc3QCFENTeP9C+dDxwS1l69/qXcL5GPVcNlx881HMqk5Es6kFnyHT0UDDj5uNAzWUXEFnh/LBIf0b/8dIaVxhj8DhzxFvtmWK4s6JZTAv9KWSCsT+QN2hVogeFTiZm6pWn27ctxk0Or9yUt1jGKl3HII6pO9hu9OIednqUvwuQoG3kzeLqyEGdgJLWIkKv/M58w3K412zjLmckWtWzcdioY1uE+m1IkjENpJKHayUuzq5NoCAXAfSX0RIzj5xjNfkUOyF5nLplhCYdE1sIdllCoc6liLhOZvSf3bImRJ/6i0QzFJ7o/zrnM0LXW8r3UdzkTfY5wWBclH4hesIY4mcxW78CacKIuosh7R7WNoFKcpKejwZ3n1ogpxhHPhIy4wgBo0ekJBlPytjQjcPx3u0fGY9s/dP9M9hwCXaOBk7DfMT/SyeXo8jlezdFmGDAMFMPPwgDvjhCMK6tnGuIGEIJhrCS4qT+dpwpiaZzhIEyZvGncHriEn7srHgZbKjQbjXhC3kKCgkbaWdqiLeqilSHBSuV8lha7Mxu9iB4yuaOk5xAgoDeixlTDNBYOwbPnaN/mXGsODnlj5JRo+F9zp3+dMiHo7oU/WCShq/Z1mPtEYuVzIIXxIKn3NrsriVTVlma2rsGFyuCRFFolQZ20PmmM5k20Z87Dq20ar7J9UxVGr/HUGuSom4CkCZBj11QL03lFMRLSkDU277NV0t4z8J0r/eBV6nKirb0I/HJiDYP+cVgBb/sNjvVzGPflvSJkHjGNmaHD4MnfP9sibRCCf93SnnKN0YhBUb5EeMeb08abtifRcy4u8KsWt3OuQfzge6lA8BRyZN+3o9Q+3TywwSV2/JbJvP7WA9n5k5KKT6909fCdSVpgH5WVOzl2LW+FLmgz40BzObe0UQts8ZkK2G8q/q2ba+kBYnqXkVqvMmwUsqNF1xbuSxQpYpFlJ7sTFiFOUbiZaKmqD2Ui4FIuyxyZNhJp7xipIJpgsOxisCRJ3k2ycqDB3LcpR+KvKBuaRqE1kXGlQoUkX/01SQSmUDN2V6L7bTS8cgVDtdfQNjA1f7gDPkC01Du1ipOj90kVTZjzULDJ9oW/bBp0zc95EanVgNhXzK+noDo+yIHmpIxdSG4Hp+fyXUJrlQGqt6V0ry9FVwH+r8gfKZ1b7KW+UvAaK/6W/usrXmtw7PMqpjZ61Mrm/NdA6LRQhV0QrR6iHBI5zM5j3mBM1lprCKT5nzOaFYd7F0XV2SwbrPYDZboL9aBlq2T0OckLwKWdhZYTFol0S1FE7WGYkt8siYmMIgLiZsjJGUVZwZ09la4B/byFr0HjtXtoWePpzv60/TPX6XuiriftzXBBIzzZ0BjEqA1dvHpn97azMRcXbOte+8+oq9H0fFzu1cXeau58L7d/N3ovp6/IS0bFoEAAa9DopbmAEH1nWoYAUG41jB61WJnqI8wzhmG6L/GI7tacgtA+PCyG6W4VHdt4fBdBs3qh5odq9dwr26QpnDu/JQN4JmYqB/QFr8rsxNErs8baUwm0aSwNtAVXfbgecAVbaE+fvwpYlZuoyK/10/4WEYU5QcpGSTTwDZQwx8bK89E1S+aBOLDLV6BDXeSVtXu1SuwM1hrtAkEEjDVseVqBLf67SGGE0peZtkXNcPE9nKIIuFY2ZD876yCYedNiyTUp4pZUB1WPfBg7NSvNuxSipNXC/AvUQSSLKIZnE8cnKqq/aX8ZMWnH3GMx4uGNUgrXlNR2U+v+f4Xu+JuP4fgw5gI+RR42BsGLY92b3fZ9NMleQmoAeZmbW2oZXOrd/khlKxghGlzhP+E47jz4ShJTRn1XK0uLMoS2XnaOEPiYhABukhGGqpRg7bxexbvX7OWKPGxXbWk8fr3GM7Vpjp/5SqQkRG0TGjxePEDpFUkacuXecnday3R9u+GId0Ec3BULsiwqy9Cq8M6BEzZLijNPHchVTPmJgdW6gJP9tN6HENqMLBfmKIqkgba/ToS1g6Is0Xlzgtr8WGckx46i9L1PSHy6Xcu4gYFqR/myTuJZOtI6Gne0dA1skBWQrGHuF6Lkr8rHkBYwxyahCmOrIPGqkfobRNPH090VJDmGHDjDMmXRmXEWqepglrzUt6JdTJpbepYRydSSEBPJQaz7Tz5wwGcaTPKYj+EidxxC1P6gYmohv/RLPuC+HfHmcLvlyaPNXs549qPCe1uGSTOwe65f4SZziKTdMCWhGb6wFF2prtRJpVBaoplZgzcPxGeTG2sQ/t8+TtqSfzKZGS7EIuyPKZRXqDzGZNgKgJML67MVa7BjI6fLSmkJtuHEo48EMJhb8k6X8JUj4Tcb0LvQtpBcEUEVvwl/+PBpa/aP6pu49FurHu3EmbUHEYadAlHwg2TZhXOLeI4npnmcxIQofmZ7/XUXEsbzWvfTvs5+aByTIfG/D917DXaeHSscaZjrdd8umrT3WFEFRwFjY+LQFQH/VH3hYPgBKdMA+fMkKk4cqfo8puRr0TPQXeH6n7Dqit4258vmIcPuIDmawDxjwQBsr+URNatLlmF+yhK3w4AZE2+/gK6sVy1YGNmxeHwU4UbKNxZWcK/wc05rssTYlVAxStvTy5f6n/5iI0Fr8NXRgueQwlCLlj++y0o4XToKJBynpHMvowpcsgPQOFvnKv9nZzHbqhSLvy8/j4z2c2XYJFVJPzWy7Vr6hZh2Yqdd/LtnkMsCat3gSsYlTXEFVnCGUob58hSN1ACte/9up+nX2Vl5P50lDk7YiUfrQYnzQcFLawNv/C1Srq6WLeNVS0kynI7lyZJZIa0Ur/mvRk/hyp2i/3ONZK75f+IulzDC6hZZ0tSKfJX6oQ2p7dMEDaFn+5STvy6Rgdz/YAkBLexXMCuHTf/Yy63rOdQ4ejqBl9aj3wCOMQt6BgVy857C1iGZhbLsXiYK1pmwaHVh8se8EIJ2ffIBZL0rIs1rvwme/oVqI7Uc5jbEgvIPP7ValDoQTviPmnmA450lJS4redn0fL7kTjtuNhIOTAHo6myHKZC5PERi7CSUZyCerui/k6xPak8gfhimXn0qUrI6/XHAJsQFkmJB7hwvxN5rHoYHZZVE1ss6Aeoq23+CTZO52rSTTjU9zysXjZUIC18e58wbhrwCXvPVScK0f6bnfE1Rzv9NzU6TyFDLgybR+UW3+0VIqm8EILIe5pfoc47qvFcu4pwBTdKCz81tpZBBbXcM6+LvrAozBAQ0AiGFjcvIZthY1A+pVm26AClzoOa255KqWRwwTWSd1uuTDUdq5h6hfzYhFaIfXNF2WPU2O1VrqnZXlx3RgdwkJndH8a1M+t7TiEqNlT2OwHavel3nm6ozQ0B2wrV/XJSba/tJ8KI2iYcnFz6lT2+3YgpEfUaraN6/ADcMx+5274YBhETR4mD05LJMbX4a73OpBrQ5qdUcoNnJZlwticCKfdGm1ab3H2/Y7d/jQ6zzWvSenZ5ybhmKf8dAm1uWy5KGjCKOJv7J8nmOPtLbmOT0jhpBNZkOqWClIAxNy29rvZPLMYMk8YJTuBHMETISlt/YW8P1MT3pWNkhDdLoIzfBPx2YAUaQa5epXUeuDHzV1B1A7yHxoddXWgj5dkGobdHzESMs80Mw5tkPmnO9vmBIGm5Sb04b8v+97N/xoAbf0dn3+G08yYTupN1sztHG98ofy9MNED/dusFD9hRqEHXDj0pvSi0yJH6z9gUmhQ7uGMov42N6Leg83Clau4v4GNCt0PeCcCDs8obNMSGB8CG342+C2Ec9+lGnXILoF9ju1EPge0oPiMycV6ODuRepqTcuLtmBd5IFts1ZO3TRc/nFXz9eWFdOjvKjb6CvOoAu1Jb0MmURkjjhoZpOMxHKABUxQ5RZTmFnL/3vuuGMVzSyEtjK2b9ODZLYcQEKvvwx+gSynZuCUquVA54vPvBTRdESeM97O79qX1matQuZ0tnVgLnraQNatNOOHiX4EYq6ESMxsYAkO+na0dQwEaj4MPKuMnXcFLgtV7cqF2bQFHeDf5N7z6mpaZyDcD3Hy2wbHlVtolnSf8bI0g+buT1Qoln/1/Ic2/pjdJyDpSekvP/goZFrlToukdh6D/wnFrRfbBthF4K9gCQqM4obeJQygVjufPk8+o7XbDXsIEGjgDiBNr1/8S+weYYDH8HNlTb3h1fZuwfPB/j0PhPpSf5cEcsbbdugIEk2HuYMPppbrFUrfqLJnscNwUepL92d2qBhmDTcKL+uQ5cyxobZnZOlKPrlFM7o4+d53p1ci9lR6MeEvGc9kR0zNJk8UOnXeQ+nGCqMpn/DhVWcFtkx5awN3rQ79l+fKDhgvgGc9A4Aw2l6TdFteK9J9Roui+va7o35X6XodtiDpTmG+SOe4o9d32yn1V3vVzDwO/Xiv30kL1OQQVfFctJ4g85bCR/YVbJBOXaPhDn57SWof3C/ldrABhXup2WkH3zqdSjADZ5MpOsSdy4oI6J0gIbVqQqAP9IH/464XIUk3uNVJl/vn4my+5fPFRli3lXEwGYBcULndTTphSOTVNmqBgb4dWf/PvZ8V34K2BFps3qY6h5xyOij1+6b8oTTprQHZtwD/MLhapujd4rOGvNGL6mXMM/q5TfGGhiOxifScpNGGAZfM7+dQBRBnTbke0OHvFWOlPBBvpQ5nFrbaloZOQ0WVOLOGbgFjmUDJoLl4AfUbD5bOWptLRstLwIXML96gfR8Mx5fbLQhrcqSPbYkmbuTwEIE3ontLA583ZK82uSol5qFXeWPO/G6XVkChqbucDMKMHKna/l3sxa5ZRHEzVzYPsDLZ3ZmfPvHo6AfdLPO49q9H4Xo6jxU5Yn9BkdYrSFQuCRU/4NWNiYzHjCPlHho8jvRWjG604wls3aNj2xfrGopR/1fO86Q33EoPsu6X90ozIVYQhMJzLA7xnHYr71zoqgmdwLgbokD3fTq4ovWF/eU2m7eaL2N+tpefTiTNT0db/YKfb1IlQy4iKVT5TLdyw9EYI1mwe6sI14g6BkrcR+zpmfqNOtaZwrsCgc/Inwjf0FRiCfeeICWWZjdWt+KtkTJAHFbWJ9fEiU9TtIzg2YeAINeFLCzUpQ1jt7IP2ImLEd0CcmK+5kSlyq/Kx6/ImGfcZ9RC1uZ9gQmcFTPdu0yIm86v4Lu8tmcRHg+X/y9FL2vePsnoZBgXHbcSc7MbQIDk/l2kFig5ZFbnq+u7shlx/ZFdVL8S6vPGDynq3+7BXXg876HJMGhgVq21JRLpJ8ftLgioYalMQx+vq8ZJejMpX1k6GLMlHzmdN8/J0y2Rg+jd5OpwZ0zQzKHOPQUka+LiH/aup5QozVvRrr1uGTWE4EQ/JR6mqllkP+w9acussfPWml29X3pnI1myPXqplV/WG8OMr6cybwe6vGMvDGTpDKbF6PND4dS/+yDssuoIQfikbLnvxpr3VxlQTJFGYptT0Tc2ZND9tK3p+ZDcD6J8ThzlOKMqc7bQoUeimf9ZNAc8oWW2H5pLaFgrv6i1mK/myG1YyQ+iHpSzBTWm/ltuP3USDCCfX4xwFMKiQecZsbD/vUX7sLhXfOa1+zhvmrJYIacr9bXrr3rkUi6hloO9W78XKQ7qLDW9nt8FFnqUq8Oi1wnl/kbLcHSNdeViebD7U+ZZYAJoNsCk4gY84+pLHtE4ysZp87h0cnwZl+3SrsWpPwpQTXISXm8TYSYM3aQOQbtSRXIfdk3EEDbddSKQzm2jBgufmOeWass63n3wHT5mApxLc01tsuAgOWQVDAwfE3A86cruMtSnqPeT16nwX3t2rbpFdSIkVYB4BoDM1/xJOJFAtz/+8tQcZpAgy1lLs2W+zPFTTHH7pDQVnwl7U2tHjsK+ffdiAcswtjY46HtllBnDtQ0c/umbzgv5ZsZReXXfkH5A7/xNhsVCf+ZTcICtxDh8/+SbEiswaPzaBMgVEe0DvryG3x0JCZJxjok8lHruEs69Z6AVNKssxH4JLNWpdS3fHHDzMQ/XIxs8EzVbUe8+tMS2l05p8i/CnAWVuG6DUsFaAZegHqI8aUchWVDmRbb0wCr++cqUop6WWLp/zj1DcBrqvPvbLjXeJ4ynvVXan5N6CR7p6AOLeu3TiYuv3tI1iSFuSP0PVQtK4ATmy//nBG2CvDrdIq8MT6uUjq8cCtUlDos1uWeNoZ+2/SbDlx1YIIYiWhggj5lKrqeDaE+9zSmW9T9G2pcBLZvPaJmzIz0hDxVj90GAD+X91ScEVT6gEiPaIq+Qs2YzIQ7tEnRHbBwuradGvZOTlEwLcuGmt4XpeDJlrkoqqnSq59Wn5SX3m0/HjCpWnODSeldxdJ1PysrE7rjXlb7YxN7O+CcsQSKaVzglH/1VkrvOAW+9fWaQn+CB1uZkUZfFA8w69zBUNxShf6X1CEUX5TkyHEuJpeEXzEdUe+3ObpwGE62E8kQNHJ4xkbKgY7975WDrGAgDRsb0QuQjHi67+EzN8L2HJSWawClSDw23LfKEHXGC92ONeKxS4EMg71ChYbJtXANK5ysby6Rhqinfz8xflOHyLcb5qef6z4Va4Dahq3dYg4m23u9fcmoDwAqZHcojH5VkLSvC26nfOvI7/U8bumCaD8gURRkcLkdhNvSZDFuwgRaflz5wx7KJrNvYKLtzLg3aWBYd253T5HwnzIAteu4W6gwkG7vtl5JYK3e0d9YDZWBpUHtvXU8XtJ2GRW87AxAF5gwXLoUI3dDy5DjLfrrXMpVteeMQFytFpORJ9XCqwMs+Gd3monAbaMVtvNCuYseghwQYsFq/8PUhtnEqUIc0NVxvi0cx0rG5FGFeAouKvStmK7wEJwrDmdtOJocN+SSP1MMt9uzRLOiqRxvpv1yKB8VwuNTBGwLyZUCd8/6W6fiItqzD0umjrcLowpU4htjEsdk3bl1MxnSTKM6PjsBwsQ1jkUUbjrMhd6JC8wVGRJmQNrURYTyvXGAcuZxrJpsmDnlML5eIyXS63G0BQ/Hwus/E9tsVpT5FgN7x98hzDsFupQmtd1UVQRUsDcU+wyAY5YnsAp4q4jnnMwFgWRsEMIOJnX299bLqsMkZKI/kDrA6/DxHcbzYK5rsizsoqcbDbZbNtZK/j5TJRzL4is6HueTE+UqJiEKpxrBMVd7SAQuhlaYIekBPvjxs7CMRbBVeKZRa255YBS8fD88+Qpv3bGj/ucm3+XUDmXAFy7OtY47TXgDtyit960nXcD0PtLAg5JFzAXjBw9IMP46nsPVEE+HT+/yE/azKUpbBKQgxwUcLaBJ5Z4z1XhcKr8BopAeIPMQzbEFFvuI9pNCwMoGkyBwdGfCHbEsB5/TPYf2Lsrzoe+o7po9XJimi8LbJGVR88/epCRoMY/Bn3fakpceSK4fPEsFBYwYPrKr9xwEOblTjkr1F0eKPtEIY/8DbVg5L1Frf42SD/2JA+Q8alVQ6tY4nCsnYpbXboxXTa1Uja1nBZruN1HuVwchV5EMvfxCe8X5ldqZpQIPZFoRiTu+IiiZ94TGBElUZH8tOyec7oQP5a9iysJcFizIFaB++kU4Pod+T2zZnIb0mDwJMvX6aNEZtzGvKvuv+SqyCYydDdiqzh66ngKO4gmnlWVfk8i/JthiUdDQhLNVUySwnDJbqAZJFdrbLNJ4KqdhRfgpR9Ut+i12I6mdqcCPppGQBghfk/e3bk0m4ZWWHr8E3qrnBJF8Oe7pIweld+F4Ez4ZxaphRBewiq/OdKg+0p9uNJoxldUG5qCwhOCICH01Gn8pL5Tq+qK6JAuJZ0emRyZN4HGMC/rZ8meBg4hIkkanpWG6LBU4JrgCgwO2HfuHos7O7yvffJEL5QweUfEE4qizXkhaZ95jv0RhwyBpqt6fHVqX2Cb1b3IP6EMVKghpnG1e2DXpeV2x1Oi1YeyxPadAinlz/WCwQu2O+R//GZlGwFtXY1leW1bKKxm3mhK7dkQ2+WweTIhSpastL1+AUmyOMuo+UMCRqr5+agv5TD+rtXSJecEqPW/wATxZUGPfNw1VIPYwl/vnxU7UptKPLpVsEx4gh9x8l0QmXpNKfcEopy8u9NKw6MUUdbyncdGoGLZgz2aWBzPFBrEV5Z/qYGWYaI2hTPMg+XpLSBXrRKpHjVCF0PyQUHdZU6PkiF8d7+BQlMyeNJsHdC88pHJAwHCNZqUVNOEAE4B7fMNgVUifkUGE5ZENl+id0gYznK2JH6Pf9aaATgTojbMalZYDq6u2kzUA3dW3BGP6UQ0L/0MH5JTFbyRDuvqI+21q6hQCZNCh4Mk17+HhAKNgAOsxj7vvw3cc3ipu10dcc9WAGVg4JVf7oSR1elgxrivHf1YQFiq4ejkAEPdV7CIvOyTCNovVb/aAI7H5Vjd/uk/oRIZFJFTFveuIQEH4qgoB+VucPOlAfQJyyZmhdUl5qAVYR6YfhIDAH+K/PEakQNmgrwEvaYVpTSaiZJ/GKs7EBggBfOGuF1cQl7uXDgEuDHcY6hSzzCPjBe3xs0VVtdiXAZOFZH9Ily3US07DEbqrdLheax45aZQMGPbCCk3mbwkJb4EVHTZOdUj9Dq2HoPWc2AR9jZx26zm2sONreZD3EBuDoFs0Mm0futafiG4dD0hafVp5tcpHbLkLuERUt94LFPackz+mifRZveLQ8adnmiYz2LyTjuapv1g8WtLI6YrS6qFlNmF3pMVqqNvf53oDt4zF+N3do8A+TzELzyqdVKJ4LatM8moQTAv5yo78x4gfKpYdkycJWeKoU8bVlu2EprjpxdAeZtWME+lIrL9Hi8ergjJip5dXBGELQte+LuWuksnIXEUGZIWcCeS3L1c3N/jrTmzGmVuZHAVs/i7n9PXbYOESUi5zD+XFRqTXGdTVZQTq3ocGB2f63b5XXIJIB8pFK1el+if0RTdArQH3o2rq4sz56R+faP+D0jrXzJLphbr7G+er9eZpbial1cw2cJxW+nN5d5ONCZncmFSl3RTcjf3AfTk8UhjEfVSmV57WaqUpur3Os9Nzj7nldAsOgeP0PEGOkH1xPM066fwhhL8RYibOWAFL0BMvZihGyvAhNp1PvwMf6NCBhDxkbA8nQK+OO2p13/xvRnEaW0e7C3x9jDeKmuVIatSfyipNfyS58F9GxAYMIM+2npU4JC21btzPIUievpp9l66HorfGvweNAbR/n+9ALx9Mdkynqod6XMfLyXoDYzZwLFo3m4HBbBydwJTYb7odK9mQ4SG8+zM8L4ZLlUz3rSnOR573O6yvpVI1IIeRyrGc3BLOenDDJQ6SjfKAOj651S68mMbOfaqNdM3sV0IrfoZU4pXLg6j4J29ti4lpAXt3IarjFWkPlMQ/N16xtrYCsGqI4S/cR1dZPYym8aHSxINn6HcJOS4mEs9Hrk4v9eTswf+kteQNDIdJw81G0u9vN/2es8o0SfSBaUEKHldC3exxtHgRS15+m0tXIYYIj+tpi1mRQPydL+WKPiSY4QN7kAREBic5u6boDssBwAt4iYoq8z+pPr0fKfKCCzOg85CHCyvfNHEl3ZA/UedYK7f+o6EC+QJs4aoA1WIW+sqy+uQ3fsEVLuFqkPZoZtbfsmY+qYvyRdkcpmlW+e9w3FwiyzYI0KN9Wb9xN7p0HrcapkYvkUJwTyc5fWGOxQpl8kI28w7rqeUDPdiXwGTa1QXnBJBRAkT0XlF4NYN+OobkOwqysHrA6jAfe23jpXxl1nXHgzW5tU4ll7+inpMMVBNFMQRbrUdqdzL6urG3vmm0sx1U/oNfz9F9S2G/leSbS5W6LjK4gjrBhSFr5Yy4rnOcnrVSv981IURoOUISbifJlhAofMSTyihIrqwAJBGuyERLOinxUPzBdozk/xi739tyvGA1p7oCcn4MtxWdPbYhB4kwkH4DAhr+dfJxjyrzU1QMD28w4VSI9y2j4oBTRv84uaPDCfc8+4VK9jXSc2n9Q4ZMflcHCbmDXXFwLKnquOW08JH5KSkbhIr16ArmMtIZpfLThz57sUE1+KAgMFas69bXnpb3h4avHsF5546l7mPaPsiTTAYpVNVNljtNTbiqmaVri7foz/zwg/X/UP/vCw0DQOZ3CZy9EdvonrAkZ3SnWFP9Xwq7G0ggNEehzvmazUcHDAUZIwmv2P15jRYCsez2HL5qxf2PBFvs+Hcy3QVkO5MPPYcYTGP4GGO9fha/Ulp6vTqPCi0G43cZTtzKanjnrgla0Rw0LfeBFrK7ETNCpU1PyaN1E8crQ4DI5D0gR49Zm0yCEWDcZGZvcUM0KRhceplCME8yoIFicuZrncFoNhu8A029YEQXMlddIaRLX/EqecDS3cyrbf/I5A2aFDL8lE1p7eStXnICyFiVayrT+yxltqoFTIJibimGqerEA5HvaJtti5YCBZThk/BCuqagxRT79LWcVy5ZbSaI/BDJ5WwGILENCZulZkFNMqJedd6zJVHrDqmr3ypQvRMbafr70S88FAouYChXn3lC7lAB6Y3lKrM3Iq7kZlQWg3M2L4qmCTsX5yNwIIluBTCAi/8IPVYEBSUdXSj9FIft+oeW0Amc4uyXj668nd89ZdDuTgtKg5mUI66Gc5DSOZ/6fZ38Aa9i0sv5e5pdGxkXab6GRxaiXpDTgkeBp/cZPCRbUVr6Aa1aG2oMKyWv+ZfuB12tAFQ98vZh+vi+8O+qDaj8K30RpCz/kUmnzkyEV1eFc7MRSN3YFjjjOuKBAMkXc5MUncLraDQtOfFFDOG8Qjglg39eD+tKjSVR/OR6EW6HeYvIK/VuTt7aPKwUmYQhjCi5eKfqh/HRWI3jDPcXI2RtD/lKb5ITigE/rvXdJ5nlwBmim5uDXtCosSCg3c7gkoGjiLBb+hWJkars5eQmNgrOorxZUdZQM58uJggrVu03umVlWszPaNEYIoSXH1a2s4BRGN3j84dWnKACrxEEbNOHDgiVuMUBjILWf46KePq02Ri2UPL19OblQYKNMsRUDKCCRRmIsytIqByPkc14IdEXU4VUCwKfb7QfeOM7vVD+SIOhY2EQ3LVmXT5/LbsblKpA/4XWDvh+5kOyh6kFbxCJAMwWnc6ptnitRnuw3fVgfPHH4/4FgPSdtn1IuQ6BOtTVgQEuBvTK+EMxaHVe7T8WoKJMnh2ESODuU98gQEn6T9aEs/NUwu38bnP5GoEuzpAxVQu7c5MzlWlsxQPKJGx2Q0Jz+Sm4G4aX/5EnmA/CpIHX59dg5oAfWw23p2lgaQU5bxMp03RUilSwFHfJrQfxf366sIRoNT3F4CCI21XRxy1nyJX+qv+l/6mV7GvubBjgmHriY0GuZ0mwWyo7GqRp7pbWDmC6GtlPxL8L5PBGdtAFeviCj4m/zeXOmOGHfdUHZ1ML52RxMZjK6diULfZblFNLesjW/PoEAwYA40uSCxNBqLppRnwDfGX0jdPj2ZPXCUuFTgai2x8hcc27GNFXbczE+I1TeagvFX+/8uUR//gyDFei/v8OYjHCMK59UhaoqFjVOb/7gJUwf9acz0kGqpPZxZMoCmSTh46lGIej1pwIgfPKRM1ZxXhSf62Wng/BWxNSwqCLze79WEpsNFjlV51jOCDr5N60f/Ry+VghEBfE4zhOMalTLMAB2kLQKB/KLH6uNngr+iqmOFS9LXBN2aAHtdGN5i1sAMU42I7nIHwSSaZmBOOT5IrZBXzvrU3mdpYCeOFLdsApGFUbkL7aUYlkWo0Ov5PIPxzA5udSkeJo/3v1gWOfLX1nh9e3wAG64rfQlHDTqYmmJrd/vTAoAJB2pdcN8oL2po3BGXqnQXNNC3PTtrGx0wRmrXbB9AulMJiPT+gXiDw6B0hwzh4BO2ycYuPR7CsaannvyZ4pEKxDITqGzT9cUSB0Uw8Pk9QWqMqiJBHAwz8OKRiAJ/OCbrox86KylZApXU7NL7PzUbpWTXa3a7vgr0okTp5180atgdeCgEHt6BZE5VY3kaifKpGi5XTnmsxERl/kjnpIxsAjx923RLm13ChTUkQ1mmD1hGW3kvg7/dJMHR2GPErYRz4SNtZLBK4RU+Nl7uyq1Gfs3edHB+9MT0zt86QoB/s8iJsZTgxzp4UghadFkxyy65pheTDBDgDIqnLXdJMO3Ye2ZkBn0KQkN+ECItRkLti12Sx5myH6byvgRszKXD1nSacO1r0IwvBVB6AGwP52HjsEQz3WJ5jsBlHED4mTeUb6QTKXInfSobgqUGVQrTkpvj2NhBiEc6GDwBC+z17EsWWEihhrUIK5I/m4cZb0K4aoW1rurtnQzHeI/OCvI6MsMDMoASBPGejfN3paVhVlXgTcqj9sDbgiYcbB809YDeU4LIFKUDe52DwWsc5/76KJvfi3XqNPQfS474f9q7IeITBe0j1L1t0yGpR0ecfbNlc3rCP+e35gBrRE1pVVR4nauQY182R8T/riMFRjDge/a/J7sNYtPsLaVPeZS4NXjyNyaw66E0YsO1Z72oiD+WQq/Lx5/vO2IJ08xlU0UOcyxk37kcgKR4VvfcQXlhzjSA0Ea3+0+Y9EBnRSna3TsmT/zuse3E7KdjSOGam2UQmZDIaq3R6zFDfIXm/x27xpqRgAWt1QjS5081i3QIxe7SATD/sA6Yvr+MZN4M3lH4LM7I6oHJgNqXUENV3la8RGdT0LZsL45Nic4QNu70X+6qZo7YABXmZ33C2IplCYpceVNL9U5de6CSIi68NVbzS+9+JVcc/+qD8F0edc2JJYUI4AMnv2prn8w5WigxA5qi6enaTbYTQMvGPfEvtKzBZ7BKDaUb56b4cbes9/gH4fFtXlcg0ffDMZzcBsTZ+H5C2DLL9Kycx1C1RDumI5tgwk8X/iDW5nnISUc0VIddTTzhtkCCBBB6FTiyQAChr+5hBbd91RxZiEKZio2hVHAniSKY6u0xCqsDk7MnUvWejRujrRt9Jtyjltfn4bQgTjLbjwdOOc7edcFuz+HoB9RLRjqVSVRRkrfwJQVpCwG98PkkQj7UnZszA9n5U1N3XnDK7MrMCV5+VWJQtG3yBPess8wxPwyHEfL/YgC5Hmq0sY3p5vtMpR41rh8KM6KmBP0HuZjoQllLz7mGmInkKNYrbzeHByC9Quf9z1Qh8O4VK3sb2or4gyAY2NyCQFSpdpcKvVpRa+sPIK1PRgW3/NLg9GMuohoCXMUCY8WyR2hu54JDuPDb48yzzsi/ec5Dz4gKJgmY3uSgRV4uLGQw+zIuDn7A4+rWMLkzfSbAJhbOu5W7vUc9MzTWhBVJzh4thblWjeAnveh8dHHF4yiIpj0o5g4R/5g4aumDkMD8Y7A14Nguwl5HKIkDTVe16qvJ9XtTyBCLkyiLUkkOq2vH7FmwQnGtqeZOCMu4P57/tpH3iTXbrSByDP44eyKVra1uQQlYjDU6aoJIj3rL/dyX4mbBEbJvQrZmjHUfiZ6GrM1hUkKxRMeKWY1NkAxGCSEOlRsPB6TOLQKHb56HiGql/9jIzLQ4eQnRibdZNaiKCmjpXdud8lrtzrs7j6OvmkCrCuV4qSz3a0ipVeMHUSdT5TPvMWXZQ4/G+uhGGLJpujxD+rq1azkwUVwTYIZ9ODcOSUEuHpuGXzRk34eIAAK9sV3RZHyF0N3u5svrjaOMKgo6o9L+qkOhqoRgiFVcFMtwPcZjHq76jnLBY+tn0f7B68ReBzOrYLdYMk1OtVxj/xmgOaoaHp3kTWkl3AXEjg1WKMKwBDmd136VG50U4xLNi7XMOBfOGArWFyXzjMgYDTlPzkEw7LfttZw1hrmK4/6/LC7P4OH4elZJxZWPIxRAYo4aPSrKRgd7bfJcKliTt696WzwqRjwWgYNy9O9nAEJBMFsVzoM7edg8+k6i+OQLW60WXl09BVW5B/PL7U+WaqDqFnRblwprRq3ITScTICio3VzcrQYqdGQ+zxChC2Vwi+L7dw+9ZcUfQeCQ09KJSaKiwJK41AqwyXtEsOZxuLPT977NOef8QVlQ7v5rjnMxGgbBajXMrtfV08Xb0EjlU+avdcq4f1prkTZXiwO/XTRaHVmyqU8fiMtk/Kz3QABFin9MTvGHSCsB4IFwXXdx6mr1H1QQ6u5+ER/4PkNoUcUmJUqh0U+kqrWckFRvokCEboNF3BgKedaFOhUEzno4YEpN/Vs0El1PLhGLENgs+InkB15OBFMAMMGfOsKVnxrTfdQScBi2ZLB3KQfKXLi+l4XMIvkcYj/MKecBFol9ImL7nfnI815VrIHV4g4q+KCyDxRwuOMOEEyb1kl7hD9ffAJILurS0aary/O5J2kX3EabknbzlfN4dTVycD1JdaWmZK3WKWkY6lCvHXu5NpptXVlqqnhluLvSjD6uiBkFPgE16HxbLFIGOzqYVXXi1NQ9n7++dyIfeMCpSrMroo8M8+3o8sZfi3cT3sUtQt+804ik7ikBTv+LtoGLLL36wji0kkAW6K4XvlGP8PGgajsW9dJuRNNynf4Xs+7w3QUrf6QubM43bhc9eqkg5lZERvUwTT2WawiJFrQjMePeoxv+IhPeOrZwyMAmZ6FZOMNHQIzoe3XWzPc0jbyomnFMSrdgq2Esv5I9PIPJdzbucCU2Wdpd1HNYVplDWamATWHUZ5iRNuZSXCRtaRwJRuSryUBPueJx6nrqppYoZ6eysvpw4cveU4vywDFEx3ZoTpE787/XXG/nmL9ceaVG/nwjcx28J0Ckfo8We9lKAFQncCHxE96nPgUsVJWN2fRv6odyrrhxvV0vBGQZYOReBugiLaB1OjKD8he12IUKBnN+wsgk0wXECkA4JR18Tza3clgNrrb0HSXEGlDEMMXZ7ogf0wGrUxxBuAaT8Fxh4/XuosSp7DuJrS9wBdiL15ozwT5aFKzzYxRNqn26mYqFJvqDkAJpsS+uQQylugfAeD22YWRTnLD7dxKNCtt8JxYcBJfjOkP70ITsGvSKqWkXZNWga3ZcvxvU/Xyxfj4HmrXDQNaEr1YXHAViR9XZik0seMtZQDovlKdpd6jV8XLxbhFEmX89jLL5w7Es4xqdCk6jDz2GxNL8NifPlItSicWRUNTHfb6AbUuW6jZ4p8VfVQIrj1hlnr0HX3WL+vQAne6MgSRyL97R//+Tt0RAf+fLIKPI8SZIFXptB4CyJRzE6AKaKOURHo7OdTRTj9VqmChz6xKY11Mhd34iDDUcs2u4K69qTpIaB0TVhQKF9VNbGOmuPBLTV5bolQ2ROCM+nyvRShDN8cRmwUes41mPR+XEIwZqAZDP+ODpiR+NK/YeTi3IpyACyNl8TuuuoTORoyGXcadPRwP1G8/mNwmsQuMYa1tCpR5q0VVBnDEQXS202rxYDX535V+BHyuV0tkSirlGIr3ZxkPk7jsdpGW6xYYMmvIIpDYLgx1WOxGxF3h4p+iOsy8VwLhZAY89zFCMEQeTYqA+YEAClWp07pGljfj9d9Zac9mFFTwVhflc1jCBz6YGnL5Jsc33AFVfx9944/cPxG0H9KKk31IoQ1Qf65mSFaznDI7zPVQsekPr1Ir20uD03pNz6550WAcRRky8dS4z3hVoEY6uuqEyA5V3INb43ghqqQEIqH6hwPFB+mFkylE/kTFuFfIfgjfdWRGh9ijYnEcV+30d20sCCs+BKJuBTLruFMYne7jMMbXzuLrRHxgKWSpnrK+MHNh9GlgbGi8lelrxKFCjSz1LEL0yc6YXr9cHZFRMRbhCvPVxcMbfDkLFrCZ0/2w/kKq1s5toZqiFpkJwjrGyjVBecIqluO4O4KFQpRGr6Kcl08F2Iu9lW4fgfH7ZhIvDagBz7aW2pUFC11xOh/4IeCSVs5hVbxIVD8OsjPnLEBKu7QYzE9xCtxa391RZm29eLyYLwOvHDiaaymk+qcokDiWZNp12JWQHe3y4SsL9FKKDd+eS+7WADnYKAM5j9OYQH/YScnmHmNevHz1AUTHeUQlNZY9IvlzH38xaLB1d+cX27KhL6d7R+crHn7aNZyYHMsuP3Gqk+oV62fARCFk6uLlh+4Kqq7Gc5xPVQxIuMPTIBfqd2LvQLa/SVrHipqNJV1ymNXpNy15lmTMAEhzhJAJkrxoInlrN7U27720UOGzV/N0fotSQ43HAg5XGDix8Ts/QTGgLO+KpqPnibnQE1hNjvE2KjwCXB5Nom5yYEkGed6Rh0KJTcYJcRKnxa+ADK6Q+T3SCdL/Rzkxe85FKP+BXHme4nw8lTd1BAKuGbCahtPgaiIM0FXx8C68lW+nGXuGhAKdhHz7IsQH2YFPab0QYkC+RXPI35o4HFP0J/k4EMquNYhCqTeb3zvmtsF3AZliJEgChr2CyoE1paMFrdgWxSKkQN5wqHP1dGUJd2G8vACI7VxtZfPLL8jMurDjs5BySerdFNSQX5OvhxFXEgRqFQamzVqNH85mAUlnsopoXGDulUUHtY8jKbY2cehpEIFCIPV38PsJ7KCpUzX0gsqHFcmbdAENXd+mdS8gwSEhdnlCxvEY3OjdZJ0KY3jXf9IBbn8vghsa0amAnDhiXyCbnS14dgoDDXT8puHW1IDZvLQT2TonqjRqlK5wkpZdo6yVPOJkM6fp97PnNspsR12F20iaX3e2m/dTEoRFmXJ889po8yz04lLF5p24wjQbuzqdmYzMxliLNHdREaNvFyk3T98g8vDGwUfLeXPp6+yzrcjo3drWOOfmKyYUAvXPkWFpwDW+/BBiQgQvYCgSLxrtsqKAtF3Il0fQ1ex6rPesXyACmELxR0NtcdryXrDtdXUFKEESHpgBFnRXIixGLbOEysYn+LW5rOFmOA5bjyc4Xz57DZGaqddy54M0YnmUE5zJGA1OrmiWVbOI2rIXk85/C3YQpGhQqAZ0vUwXCzYV8q+xm/laU9f2R/+whgAJMIuR694gLlQQ3hdZi+ZdY22CcxRL5hAUVcVuX2UhK1cHfkndnkIZaBrVlJC98THdwl1elLrqKka0iST8pM4cgZFPnULxduf1M3UI+pAtA87NefI1thyJigXYTsBelAs5C3jDttAlYR+hgFN5YQLiMWqrcTbqlAb6pBUKoPgv7IhDzpnb074H4utWp+y9+gspId/mHhsX9G5DoI44yNTE/Mu8Os4ZptDhaWbOmeH49YDqevQN4ykBA3hXiomr9ImWjzHxL9bp3Zr/JDGFOkYykgquGhJrwYDUy8SIoR3kcLF8EJzY1OvY9QtkbcyP+C76awAc0uGGpdFtPPSFnv3N5VTi+Theow6PqQ1coutIq9i5B+3ZYQTmcK+GSdndwu8bMzm+tsMLR3CgKA11VqsaxuusSCZVhqVqAZVfdQtSXZ87YGSCdCNPB5mOBD4UcCSTjcnZLLypZS3179AO8B/9rjrH08ADoVv0QeobbB8Kynwq6Y6+50HKKc1PC58gZsgqZxeSMXNYT1G9zlFSNTuyNAzIzCwOU84SNwRfNUuOv4ekmx/ZDz+A4Ss/wafkkVoozVwWsxziW+8s0HEqUNogxbCzifCIQQcIf9lgvAdJY9Dd2ds3F6b++iVSmPDJ6rHrZWPfK29SfwqdH/hKckLSfPGoVkNOYHJRhH9RauWQdmb7DJm/lw3gWnz3j3FiyMXOzrF8bdh5bdXsgcgAODGus+ZgGe/xXzy9xSODJP5o="/>
  <p:tag name="MEKKOXMLTAGS" val="1"/>
  <p:tag name="ALREADY-CHECKED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LREADY-CHECKED" val="TRU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kko Graphics Presentation Template.pptx" id="{F784860D-932B-4C5D-A645-0E3B722ADAC2}" vid="{6332FCFF-3B5C-4C62-99D0-81A6FDC7EDC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03</TotalTime>
  <Words>217</Words>
  <Application>Microsoft Office PowerPoint</Application>
  <PresentationFormat>On-screen Show (4:3)</PresentationFormat>
  <Paragraphs>21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Century Gothic</vt:lpstr>
      <vt:lpstr>Clarity</vt:lpstr>
      <vt:lpstr>Top 5 Charts of the Week 2019</vt:lpstr>
      <vt:lpstr>How Do Teenagers Spend Their Time?</vt:lpstr>
      <vt:lpstr>US Yogurt Market Growth</vt:lpstr>
      <vt:lpstr>Wine Customer Segmentation</vt:lpstr>
      <vt:lpstr>Meat Consumption by Country and Type</vt:lpstr>
      <vt:lpstr>World’s Largest Unicorns</vt:lpstr>
    </vt:vector>
  </TitlesOfParts>
  <Company>Mekko Graphic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Goldstein</dc:creator>
  <cp:lastModifiedBy>Diane Rich</cp:lastModifiedBy>
  <cp:revision>135</cp:revision>
  <cp:lastPrinted>2014-12-06T22:25:15Z</cp:lastPrinted>
  <dcterms:created xsi:type="dcterms:W3CDTF">2014-11-08T22:34:19Z</dcterms:created>
  <dcterms:modified xsi:type="dcterms:W3CDTF">2019-12-10T20:51:27Z</dcterms:modified>
</cp:coreProperties>
</file>